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461" r:id="rId5"/>
    <p:sldId id="639" r:id="rId6"/>
    <p:sldId id="872" r:id="rId7"/>
    <p:sldId id="873" r:id="rId8"/>
    <p:sldId id="877" r:id="rId9"/>
    <p:sldId id="874" r:id="rId10"/>
    <p:sldId id="875" r:id="rId11"/>
    <p:sldId id="876" r:id="rId12"/>
    <p:sldId id="734" r:id="rId13"/>
    <p:sldId id="364" r:id="rId14"/>
  </p:sldIdLst>
  <p:sldSz cx="9144000" cy="6858000" type="screen4x3"/>
  <p:notesSz cx="6810375" cy="99425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835">
          <p15:clr>
            <a:srgbClr val="A4A3A4"/>
          </p15:clr>
        </p15:guide>
        <p15:guide id="2" orient="horz" pos="798">
          <p15:clr>
            <a:srgbClr val="A4A3A4"/>
          </p15:clr>
        </p15:guide>
        <p15:guide id="3" orient="horz" pos="117">
          <p15:clr>
            <a:srgbClr val="A4A3A4"/>
          </p15:clr>
        </p15:guide>
        <p15:guide id="4" orient="horz" pos="4196">
          <p15:clr>
            <a:srgbClr val="A4A3A4"/>
          </p15:clr>
        </p15:guide>
        <p15:guide id="5" orient="horz" pos="3874">
          <p15:clr>
            <a:srgbClr val="A4A3A4"/>
          </p15:clr>
        </p15:guide>
        <p15:guide id="6" orient="horz" pos="2083">
          <p15:clr>
            <a:srgbClr val="A4A3A4"/>
          </p15:clr>
        </p15:guide>
        <p15:guide id="7" orient="horz" pos="697">
          <p15:clr>
            <a:srgbClr val="A4A3A4"/>
          </p15:clr>
        </p15:guide>
        <p15:guide id="8" pos="2775">
          <p15:clr>
            <a:srgbClr val="A4A3A4"/>
          </p15:clr>
        </p15:guide>
        <p15:guide id="9" pos="3000">
          <p15:clr>
            <a:srgbClr val="A4A3A4"/>
          </p15:clr>
        </p15:guide>
        <p15:guide id="10" pos="282">
          <p15:clr>
            <a:srgbClr val="A4A3A4"/>
          </p15:clr>
        </p15:guide>
        <p15:guide id="11" pos="2880">
          <p15:clr>
            <a:srgbClr val="A4A3A4"/>
          </p15:clr>
        </p15:guide>
        <p15:guide id="12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NIGGEJ" initials="K" lastIdx="1" clrIdx="0"/>
  <p:cmAuthor id="1" name="SMEETSK" initials="S" lastIdx="1" clrIdx="1"/>
  <p:cmAuthor id="2" name="Ruud Lemmers" initials="RL" lastIdx="3" clrIdx="2"/>
  <p:cmAuthor id="3" name="pdreessen" initials="p" lastIdx="1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11CE0"/>
    <a:srgbClr val="4055BC"/>
    <a:srgbClr val="546EA8"/>
    <a:srgbClr val="657697"/>
    <a:srgbClr val="5B9AA1"/>
    <a:srgbClr val="6645B7"/>
    <a:srgbClr val="921E3A"/>
    <a:srgbClr val="CDC800"/>
    <a:srgbClr val="FFFF00"/>
    <a:srgbClr val="2D2B2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77" autoAdjust="0"/>
    <p:restoredTop sz="94505" autoAdjust="0"/>
  </p:normalViewPr>
  <p:slideViewPr>
    <p:cSldViewPr>
      <p:cViewPr>
        <p:scale>
          <a:sx n="80" d="100"/>
          <a:sy n="80" d="100"/>
        </p:scale>
        <p:origin x="-2370" y="-918"/>
      </p:cViewPr>
      <p:guideLst>
        <p:guide orient="horz" pos="835"/>
        <p:guide orient="horz" pos="798"/>
        <p:guide orient="horz" pos="117"/>
        <p:guide orient="horz" pos="4196"/>
        <p:guide orient="horz" pos="3874"/>
        <p:guide orient="horz" pos="2083"/>
        <p:guide orient="horz" pos="697"/>
        <p:guide pos="2775"/>
        <p:guide pos="3000"/>
        <p:guide pos="282"/>
        <p:guide pos="2880"/>
        <p:guide pos="5480"/>
      </p:guideLst>
    </p:cSldViewPr>
  </p:slideViewPr>
  <p:outlineViewPr>
    <p:cViewPr>
      <p:scale>
        <a:sx n="33" d="100"/>
        <a:sy n="33" d="100"/>
      </p:scale>
      <p:origin x="43" y="5539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1" d="100"/>
        <a:sy n="51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20" y="-84"/>
      </p:cViewPr>
      <p:guideLst>
        <p:guide orient="horz" pos="3132"/>
        <p:guide pos="2145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A2E8FD-2AFE-4B1E-9D19-015693014FEA}" type="datetimeFigureOut">
              <a:rPr lang="en-US" smtClean="0">
                <a:latin typeface="Arial" pitchFamily="34" charset="0"/>
              </a:rPr>
              <a:pPr/>
              <a:t>7/28/2016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3D0142-0A92-499C-9E53-36958F98D275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93423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B5D7A87D-1CDA-443F-BAE3-82C9C05446C3}" type="datetimeFigureOut">
              <a:rPr lang="en-US" smtClean="0"/>
              <a:pPr/>
              <a:t>7/28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20B9C825-F38E-45BB-92C1-043DE61C91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162775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50182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1909" b="12591"/>
          <a:stretch/>
        </p:blipFill>
        <p:spPr bwMode="auto">
          <a:xfrm>
            <a:off x="9" y="0"/>
            <a:ext cx="9246721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cover_bg_beet_part2.jpg &lt;IGNORE&gt;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4069080"/>
            <a:ext cx="9144000" cy="1527048"/>
          </a:xfrm>
          <a:prstGeom prst="rect">
            <a:avLst/>
          </a:prstGeom>
        </p:spPr>
      </p:pic>
      <p:pic>
        <p:nvPicPr>
          <p:cNvPr id="50" name="Picture 8" descr="cover_bg_beet_part1.jp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9" y="3906044"/>
            <a:ext cx="9143961" cy="178592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white">
          <a:xfrm>
            <a:off x="449262" y="4204514"/>
            <a:ext cx="8250237" cy="1244816"/>
          </a:xfrm>
        </p:spPr>
        <p:txBody>
          <a:bodyPr wrap="square" lIns="0" tIns="0" rIns="0" bIns="0" anchor="t" anchorCtr="0">
            <a:normAutofit/>
          </a:bodyPr>
          <a:lstStyle>
            <a:lvl1pPr algn="l">
              <a:defRPr sz="3600" b="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</a:t>
            </a:r>
            <a:br>
              <a:rPr lang="en-US" noProof="0" smtClean="0"/>
            </a:br>
            <a:r>
              <a:rPr lang="en-US" noProof="0" smtClean="0"/>
              <a:t>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7675" y="5721349"/>
            <a:ext cx="5881407" cy="6794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lang="en-GB" sz="1400" kern="1200" noProof="0" dirty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20" name="TextBox 19"/>
          <p:cNvSpPr txBox="1"/>
          <p:nvPr userDrawn="1"/>
        </p:nvSpPr>
        <p:spPr bwMode="auto">
          <a:xfrm>
            <a:off x="449263" y="6515641"/>
            <a:ext cx="2531443" cy="19391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rPr>
              <a:t>© CGI Group Inc. CONFIDENTIAL 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762500" y="1325563"/>
            <a:ext cx="3924300" cy="48355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500"/>
              </a:spcBef>
              <a:buNone/>
              <a:defRPr lang="en-GB" sz="20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63500" tIns="0" rIns="64800" bIns="0" rtlCol="0" anchor="ctr"/>
          <a:lstStyle/>
          <a:p>
            <a:pPr algn="ctr">
              <a:spcBef>
                <a:spcPct val="0"/>
              </a:spcBef>
              <a:buClrTx/>
              <a:buSzPct val="90000"/>
            </a:pPr>
            <a:endParaRPr lang="en-U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5" name="Group 2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  <a:solidFill>
            <a:schemeClr val="bg1"/>
          </a:solidFill>
        </p:grpSpPr>
        <p:sp>
          <p:nvSpPr>
            <p:cNvPr id="2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447675" y="2508250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ctr"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325563"/>
            <a:ext cx="8251825" cy="34607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447674" y="5016525"/>
            <a:ext cx="8251825" cy="11366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small graph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6825"/>
            <a:ext cx="626110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23" hasCustomPrompt="1"/>
          </p:nvPr>
        </p:nvSpPr>
        <p:spPr>
          <a:xfrm>
            <a:off x="6854825" y="1325563"/>
            <a:ext cx="1844675" cy="4827587"/>
          </a:xfrm>
          <a:prstGeom prst="rect">
            <a:avLst/>
          </a:prstGeom>
        </p:spPr>
        <p:txBody>
          <a:bodyPr lIns="0" tIns="0" rIns="0" bIns="0"/>
          <a:lstStyle>
            <a:lvl1pPr marL="179388" indent="-179388">
              <a:buFont typeface="Arial" pitchFamily="34" charset="0"/>
              <a:buNone/>
              <a:defRPr lang="en-A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Text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2322786"/>
            <a:ext cx="3956050" cy="38303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24"/>
          </p:nvPr>
        </p:nvSpPr>
        <p:spPr>
          <a:xfrm>
            <a:off x="447674" y="1266825"/>
            <a:ext cx="8251825" cy="83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19" name="Group 18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20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7675" y="1266825"/>
            <a:ext cx="8239125" cy="3303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SzPct val="120000"/>
              <a:buFont typeface="Arial" pitchFamily="34" charset="0"/>
              <a:buNone/>
              <a:defRPr sz="1600" baseline="0">
                <a:solidFill>
                  <a:schemeClr val="tx1"/>
                </a:solidFill>
                <a:latin typeface="Arial" pitchFamily="34" charset="0"/>
              </a:defRPr>
            </a:lvl1pPr>
            <a:lvl2pPr marL="273050" indent="-265113">
              <a:spcBef>
                <a:spcPts val="600"/>
              </a:spcBef>
              <a:buClr>
                <a:schemeClr val="tx2"/>
              </a:buClr>
              <a:buSzPct val="120000"/>
              <a:buFont typeface="Verdana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631825" indent="-216000">
              <a:spcBef>
                <a:spcPts val="600"/>
              </a:spcBef>
              <a:buFont typeface="Verdana" pitchFamily="34" charset="0"/>
              <a:buChar char="−"/>
              <a:tabLst/>
              <a:defRPr sz="1600">
                <a:solidFill>
                  <a:schemeClr val="tx1"/>
                </a:solidFill>
              </a:defRPr>
            </a:lvl3pPr>
            <a:lvl4pPr marL="804863" indent="-216000">
              <a:spcBef>
                <a:spcPts val="600"/>
              </a:spcBef>
              <a:buFont typeface="Verdana" pitchFamily="34" charset="0"/>
              <a:buChar char="−"/>
              <a:defRPr sz="1400">
                <a:solidFill>
                  <a:schemeClr val="tx1"/>
                </a:solidFill>
              </a:defRPr>
            </a:lvl4pPr>
            <a:lvl5pPr marL="977900" indent="-216000">
              <a:spcBef>
                <a:spcPts val="600"/>
              </a:spcBef>
              <a:buFont typeface="Arial" pitchFamily="34" charset="0"/>
              <a:buChar char="-"/>
              <a:defRPr sz="1400">
                <a:solidFill>
                  <a:schemeClr val="tx1"/>
                </a:solidFill>
              </a:defRPr>
            </a:lvl5pPr>
            <a:lvl6pPr marL="871538" indent="-174625">
              <a:spcBef>
                <a:spcPts val="600"/>
              </a:spcBef>
              <a:defRPr sz="1400"/>
            </a:lvl6pPr>
            <a:lvl7pPr marL="1168400" indent="-216000">
              <a:spcBef>
                <a:spcPts val="600"/>
              </a:spcBef>
              <a:defRPr sz="140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noProof="0" smtClean="0"/>
              <a:t>Click to enter text</a:t>
            </a:r>
            <a:endParaRPr lang="en-US" noProof="0" dirty="0" smtClean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447675" y="1744717"/>
            <a:ext cx="8251825" cy="440843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lang="en-GB" sz="180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5" y="1266825"/>
            <a:ext cx="6262688" cy="173037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page for sales presen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9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8087" y="1228993"/>
            <a:ext cx="6252276" cy="461665"/>
          </a:xfrm>
        </p:spPr>
        <p:txBody>
          <a:bodyPr wrap="square" lIns="0" tIns="0" rIns="0" bIns="0">
            <a:normAutofit/>
          </a:bodyPr>
          <a:lstStyle>
            <a:lvl1pPr algn="l">
              <a:defRPr sz="30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Thank you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47675" y="2063327"/>
            <a:ext cx="6262688" cy="702365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28" name="Picture 27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23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63408"/>
            <a:ext cx="8250237" cy="488974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8" name="Group 37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6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  <a:latin typeface="Arial" pitchFamily="34" charset="0"/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3" name="Group 12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4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Content Placeholder 20"/>
          <p:cNvSpPr>
            <a:spLocks noGrp="1"/>
          </p:cNvSpPr>
          <p:nvPr>
            <p:ph sz="quarter" idx="17"/>
          </p:nvPr>
        </p:nvSpPr>
        <p:spPr>
          <a:xfrm>
            <a:off x="449263" y="1289829"/>
            <a:ext cx="8250237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accent1"/>
              </a:buClr>
              <a:buSzPct val="100000"/>
              <a:buFont typeface="Verdana" pitchFamily="34" charset="0"/>
              <a:buChar char="•"/>
              <a:defRPr sz="105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6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- Hig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89829"/>
            <a:ext cx="3956049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20"/>
          <p:cNvSpPr>
            <a:spLocks noGrp="1"/>
          </p:cNvSpPr>
          <p:nvPr>
            <p:ph sz="quarter" idx="18"/>
          </p:nvPr>
        </p:nvSpPr>
        <p:spPr>
          <a:xfrm>
            <a:off x="4754116" y="1289829"/>
            <a:ext cx="3945384" cy="487125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6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bg_slide.png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" y="5535427"/>
            <a:ext cx="3794758" cy="132873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82771" y="6516090"/>
            <a:ext cx="778457" cy="2412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algn="ctr">
              <a:defRPr lang="en-GB" sz="1100" kern="1200" noProof="0" dirty="0" smtClean="0">
                <a:solidFill>
                  <a:srgbClr val="6666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47675" y="185739"/>
            <a:ext cx="8239125" cy="92075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7"/>
          </p:nvPr>
        </p:nvSpPr>
        <p:spPr>
          <a:xfrm>
            <a:off x="449264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0"/>
          <p:cNvSpPr>
            <a:spLocks noGrp="1"/>
          </p:cNvSpPr>
          <p:nvPr>
            <p:ph sz="quarter" idx="23"/>
          </p:nvPr>
        </p:nvSpPr>
        <p:spPr>
          <a:xfrm>
            <a:off x="4741416" y="1266825"/>
            <a:ext cx="3956050" cy="48863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263525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  <a:latin typeface="Arial" pitchFamily="34" charset="0"/>
              </a:defRPr>
            </a:lvl2pPr>
            <a:lvl3pPr marL="536575" indent="-273050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</a:defRPr>
            </a:lvl3pPr>
            <a:lvl4pPr marL="811213" indent="-274638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1074738" indent="-263525">
              <a:spcBef>
                <a:spcPts val="5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1136650" indent="-2159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6pPr>
            <a:lvl7pPr marL="1343025" indent="-228600"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Verdana" pitchFamily="34" charset="0"/>
              <a:buChar char="•"/>
              <a:defRPr sz="14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975371" y="6325019"/>
            <a:ext cx="715649" cy="333534"/>
            <a:chOff x="7527713" y="5505450"/>
            <a:chExt cx="1163308" cy="542169"/>
          </a:xfrm>
        </p:grpSpPr>
        <p:sp>
          <p:nvSpPr>
            <p:cNvPr id="18" name="Freeform 5"/>
            <p:cNvSpPr>
              <a:spLocks/>
            </p:cNvSpPr>
            <p:nvPr/>
          </p:nvSpPr>
          <p:spPr bwMode="gray">
            <a:xfrm>
              <a:off x="7527713" y="5505450"/>
              <a:ext cx="453860" cy="542169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gray">
            <a:xfrm>
              <a:off x="8022755" y="5505450"/>
              <a:ext cx="470417" cy="542169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gray">
            <a:xfrm>
              <a:off x="8579360" y="5516489"/>
              <a:ext cx="111661" cy="520092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 descr="&lt;IGNORE&gt;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14400" y="0"/>
            <a:ext cx="9144000" cy="6858000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</p:grpSpPr>
        <p:sp>
          <p:nvSpPr>
            <p:cNvPr id="8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solidFill>
              <a:srgbClr val="E3183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solidFill>
              <a:srgbClr val="E3183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674" y="253048"/>
            <a:ext cx="8251825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pic>
        <p:nvPicPr>
          <p:cNvPr id="40" name="Picture 2" descr="http://greenenergyindonesia.com/wp-content/uploads/2012/06/green2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4371" b="28907"/>
          <a:stretch/>
        </p:blipFill>
        <p:spPr bwMode="auto">
          <a:xfrm>
            <a:off x="0" y="1898151"/>
            <a:ext cx="9143980" cy="2902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6" descr="cover_bg_beet_part2.jpg  &lt;IGNORE&gt;"/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0" name="Image 15" descr="section.jpg &lt;IGNORE&gt;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286000"/>
            <a:ext cx="9144000" cy="2286000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 bwMode="gray">
          <a:xfrm>
            <a:off x="6901056" y="5829386"/>
            <a:ext cx="1894407" cy="855073"/>
            <a:chOff x="1028700" y="1828800"/>
            <a:chExt cx="7083426" cy="3197226"/>
          </a:xfrm>
          <a:solidFill>
            <a:srgbClr val="FFFFFF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3371850" y="1828800"/>
              <a:ext cx="1697038" cy="2027238"/>
            </a:xfrm>
            <a:custGeom>
              <a:avLst/>
              <a:gdLst/>
              <a:ahLst/>
              <a:cxnLst>
                <a:cxn ang="0">
                  <a:pos x="287" y="104"/>
                </a:cxn>
                <a:cxn ang="0">
                  <a:pos x="117" y="269"/>
                </a:cxn>
                <a:cxn ang="0">
                  <a:pos x="288" y="435"/>
                </a:cxn>
                <a:cxn ang="0">
                  <a:pos x="451" y="366"/>
                </a:cxn>
                <a:cxn ang="0">
                  <a:pos x="451" y="490"/>
                </a:cxn>
                <a:cxn ang="0">
                  <a:pos x="280" y="539"/>
                </a:cxn>
                <a:cxn ang="0">
                  <a:pos x="0" y="269"/>
                </a:cxn>
                <a:cxn ang="0">
                  <a:pos x="281" y="0"/>
                </a:cxn>
                <a:cxn ang="0">
                  <a:pos x="452" y="40"/>
                </a:cxn>
                <a:cxn ang="0">
                  <a:pos x="452" y="162"/>
                </a:cxn>
                <a:cxn ang="0">
                  <a:pos x="287" y="104"/>
                </a:cxn>
              </a:cxnLst>
              <a:rect l="0" t="0" r="r" b="b"/>
              <a:pathLst>
                <a:path w="452" h="539">
                  <a:moveTo>
                    <a:pt x="287" y="104"/>
                  </a:moveTo>
                  <a:cubicBezTo>
                    <a:pt x="182" y="104"/>
                    <a:pt x="117" y="186"/>
                    <a:pt x="117" y="269"/>
                  </a:cubicBezTo>
                  <a:cubicBezTo>
                    <a:pt x="117" y="369"/>
                    <a:pt x="199" y="435"/>
                    <a:pt x="288" y="435"/>
                  </a:cubicBezTo>
                  <a:cubicBezTo>
                    <a:pt x="347" y="435"/>
                    <a:pt x="404" y="409"/>
                    <a:pt x="451" y="366"/>
                  </a:cubicBezTo>
                  <a:cubicBezTo>
                    <a:pt x="451" y="490"/>
                    <a:pt x="451" y="490"/>
                    <a:pt x="451" y="490"/>
                  </a:cubicBezTo>
                  <a:cubicBezTo>
                    <a:pt x="401" y="520"/>
                    <a:pt x="333" y="539"/>
                    <a:pt x="280" y="539"/>
                  </a:cubicBezTo>
                  <a:cubicBezTo>
                    <a:pt x="127" y="539"/>
                    <a:pt x="0" y="415"/>
                    <a:pt x="0" y="269"/>
                  </a:cubicBezTo>
                  <a:cubicBezTo>
                    <a:pt x="0" y="115"/>
                    <a:pt x="128" y="0"/>
                    <a:pt x="281" y="0"/>
                  </a:cubicBezTo>
                  <a:cubicBezTo>
                    <a:pt x="339" y="0"/>
                    <a:pt x="408" y="18"/>
                    <a:pt x="452" y="40"/>
                  </a:cubicBezTo>
                  <a:cubicBezTo>
                    <a:pt x="452" y="162"/>
                    <a:pt x="452" y="162"/>
                    <a:pt x="452" y="162"/>
                  </a:cubicBezTo>
                  <a:cubicBezTo>
                    <a:pt x="396" y="125"/>
                    <a:pt x="339" y="104"/>
                    <a:pt x="287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gray">
            <a:xfrm>
              <a:off x="5222875" y="1828800"/>
              <a:ext cx="1758950" cy="2027238"/>
            </a:xfrm>
            <a:custGeom>
              <a:avLst/>
              <a:gdLst/>
              <a:ahLst/>
              <a:cxnLst>
                <a:cxn ang="0">
                  <a:pos x="282" y="539"/>
                </a:cxn>
                <a:cxn ang="0">
                  <a:pos x="0" y="269"/>
                </a:cxn>
                <a:cxn ang="0">
                  <a:pos x="289" y="0"/>
                </a:cxn>
                <a:cxn ang="0">
                  <a:pos x="465" y="36"/>
                </a:cxn>
                <a:cxn ang="0">
                  <a:pos x="465" y="157"/>
                </a:cxn>
                <a:cxn ang="0">
                  <a:pos x="292" y="104"/>
                </a:cxn>
                <a:cxn ang="0">
                  <a:pos x="118" y="269"/>
                </a:cxn>
                <a:cxn ang="0">
                  <a:pos x="293" y="438"/>
                </a:cxn>
                <a:cxn ang="0">
                  <a:pos x="357" y="427"/>
                </a:cxn>
                <a:cxn ang="0">
                  <a:pos x="357" y="330"/>
                </a:cxn>
                <a:cxn ang="0">
                  <a:pos x="271" y="330"/>
                </a:cxn>
                <a:cxn ang="0">
                  <a:pos x="271" y="228"/>
                </a:cxn>
                <a:cxn ang="0">
                  <a:pos x="468" y="228"/>
                </a:cxn>
                <a:cxn ang="0">
                  <a:pos x="468" y="500"/>
                </a:cxn>
                <a:cxn ang="0">
                  <a:pos x="282" y="539"/>
                </a:cxn>
              </a:cxnLst>
              <a:rect l="0" t="0" r="r" b="b"/>
              <a:pathLst>
                <a:path w="468" h="539">
                  <a:moveTo>
                    <a:pt x="282" y="539"/>
                  </a:moveTo>
                  <a:cubicBezTo>
                    <a:pt x="129" y="539"/>
                    <a:pt x="0" y="419"/>
                    <a:pt x="0" y="269"/>
                  </a:cubicBezTo>
                  <a:cubicBezTo>
                    <a:pt x="0" y="118"/>
                    <a:pt x="128" y="0"/>
                    <a:pt x="289" y="0"/>
                  </a:cubicBezTo>
                  <a:cubicBezTo>
                    <a:pt x="348" y="0"/>
                    <a:pt x="420" y="15"/>
                    <a:pt x="465" y="36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14" y="128"/>
                    <a:pt x="348" y="104"/>
                    <a:pt x="292" y="104"/>
                  </a:cubicBezTo>
                  <a:cubicBezTo>
                    <a:pt x="186" y="104"/>
                    <a:pt x="118" y="186"/>
                    <a:pt x="118" y="269"/>
                  </a:cubicBezTo>
                  <a:cubicBezTo>
                    <a:pt x="118" y="367"/>
                    <a:pt x="198" y="438"/>
                    <a:pt x="293" y="438"/>
                  </a:cubicBezTo>
                  <a:cubicBezTo>
                    <a:pt x="313" y="438"/>
                    <a:pt x="332" y="436"/>
                    <a:pt x="357" y="427"/>
                  </a:cubicBezTo>
                  <a:cubicBezTo>
                    <a:pt x="357" y="330"/>
                    <a:pt x="357" y="330"/>
                    <a:pt x="357" y="330"/>
                  </a:cubicBezTo>
                  <a:cubicBezTo>
                    <a:pt x="271" y="330"/>
                    <a:pt x="271" y="330"/>
                    <a:pt x="271" y="330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468" y="228"/>
                    <a:pt x="468" y="228"/>
                    <a:pt x="468" y="228"/>
                  </a:cubicBezTo>
                  <a:cubicBezTo>
                    <a:pt x="468" y="500"/>
                    <a:pt x="468" y="500"/>
                    <a:pt x="468" y="500"/>
                  </a:cubicBezTo>
                  <a:cubicBezTo>
                    <a:pt x="412" y="526"/>
                    <a:pt x="348" y="539"/>
                    <a:pt x="282" y="5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gray">
            <a:xfrm>
              <a:off x="7304088" y="1870075"/>
              <a:ext cx="417513" cy="19446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gray">
            <a:xfrm>
              <a:off x="1028700" y="4525963"/>
              <a:ext cx="269875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0"/>
                </a:cxn>
                <a:cxn ang="0">
                  <a:pos x="168" y="26"/>
                </a:cxn>
                <a:cxn ang="0">
                  <a:pos x="31" y="26"/>
                </a:cxn>
                <a:cxn ang="0">
                  <a:pos x="31" y="107"/>
                </a:cxn>
                <a:cxn ang="0">
                  <a:pos x="159" y="107"/>
                </a:cxn>
                <a:cxn ang="0">
                  <a:pos x="159" y="133"/>
                </a:cxn>
                <a:cxn ang="0">
                  <a:pos x="31" y="133"/>
                </a:cxn>
                <a:cxn ang="0">
                  <a:pos x="31" y="218"/>
                </a:cxn>
                <a:cxn ang="0">
                  <a:pos x="170" y="218"/>
                </a:cxn>
                <a:cxn ang="0">
                  <a:pos x="170" y="246"/>
                </a:cxn>
                <a:cxn ang="0">
                  <a:pos x="0" y="246"/>
                </a:cxn>
                <a:cxn ang="0">
                  <a:pos x="0" y="0"/>
                </a:cxn>
              </a:cxnLst>
              <a:rect l="0" t="0" r="r" b="b"/>
              <a:pathLst>
                <a:path w="170" h="246">
                  <a:moveTo>
                    <a:pt x="0" y="0"/>
                  </a:moveTo>
                  <a:lnTo>
                    <a:pt x="168" y="0"/>
                  </a:lnTo>
                  <a:lnTo>
                    <a:pt x="168" y="26"/>
                  </a:lnTo>
                  <a:lnTo>
                    <a:pt x="31" y="26"/>
                  </a:lnTo>
                  <a:lnTo>
                    <a:pt x="31" y="107"/>
                  </a:lnTo>
                  <a:lnTo>
                    <a:pt x="159" y="107"/>
                  </a:lnTo>
                  <a:lnTo>
                    <a:pt x="159" y="133"/>
                  </a:lnTo>
                  <a:lnTo>
                    <a:pt x="31" y="133"/>
                  </a:lnTo>
                  <a:lnTo>
                    <a:pt x="31" y="218"/>
                  </a:lnTo>
                  <a:lnTo>
                    <a:pt x="170" y="218"/>
                  </a:lnTo>
                  <a:lnTo>
                    <a:pt x="170" y="246"/>
                  </a:lnTo>
                  <a:lnTo>
                    <a:pt x="0" y="24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gray">
            <a:xfrm>
              <a:off x="1322388" y="4635500"/>
              <a:ext cx="269875" cy="280988"/>
            </a:xfrm>
            <a:custGeom>
              <a:avLst/>
              <a:gdLst/>
              <a:ahLst/>
              <a:cxnLst>
                <a:cxn ang="0">
                  <a:pos x="66" y="83"/>
                </a:cxn>
                <a:cxn ang="0">
                  <a:pos x="4" y="0"/>
                </a:cxn>
                <a:cxn ang="0">
                  <a:pos x="42" y="0"/>
                </a:cxn>
                <a:cxn ang="0">
                  <a:pos x="85" y="61"/>
                </a:cxn>
                <a:cxn ang="0">
                  <a:pos x="127" y="0"/>
                </a:cxn>
                <a:cxn ang="0">
                  <a:pos x="163" y="0"/>
                </a:cxn>
                <a:cxn ang="0">
                  <a:pos x="101" y="80"/>
                </a:cxn>
                <a:cxn ang="0">
                  <a:pos x="170" y="177"/>
                </a:cxn>
                <a:cxn ang="0">
                  <a:pos x="134" y="177"/>
                </a:cxn>
                <a:cxn ang="0">
                  <a:pos x="85" y="104"/>
                </a:cxn>
                <a:cxn ang="0">
                  <a:pos x="35" y="177"/>
                </a:cxn>
                <a:cxn ang="0">
                  <a:pos x="0" y="177"/>
                </a:cxn>
                <a:cxn ang="0">
                  <a:pos x="66" y="83"/>
                </a:cxn>
              </a:cxnLst>
              <a:rect l="0" t="0" r="r" b="b"/>
              <a:pathLst>
                <a:path w="170" h="177">
                  <a:moveTo>
                    <a:pt x="66" y="83"/>
                  </a:moveTo>
                  <a:lnTo>
                    <a:pt x="4" y="0"/>
                  </a:lnTo>
                  <a:lnTo>
                    <a:pt x="42" y="0"/>
                  </a:lnTo>
                  <a:lnTo>
                    <a:pt x="85" y="61"/>
                  </a:lnTo>
                  <a:lnTo>
                    <a:pt x="127" y="0"/>
                  </a:lnTo>
                  <a:lnTo>
                    <a:pt x="163" y="0"/>
                  </a:lnTo>
                  <a:lnTo>
                    <a:pt x="101" y="80"/>
                  </a:lnTo>
                  <a:lnTo>
                    <a:pt x="170" y="177"/>
                  </a:lnTo>
                  <a:lnTo>
                    <a:pt x="134" y="177"/>
                  </a:lnTo>
                  <a:lnTo>
                    <a:pt x="85" y="104"/>
                  </a:lnTo>
                  <a:lnTo>
                    <a:pt x="35" y="177"/>
                  </a:lnTo>
                  <a:lnTo>
                    <a:pt x="0" y="177"/>
                  </a:lnTo>
                  <a:lnTo>
                    <a:pt x="66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gray">
            <a:xfrm>
              <a:off x="1633538" y="4627563"/>
              <a:ext cx="266700" cy="39846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2"/>
                </a:cxn>
                <a:cxn ang="0">
                  <a:pos x="13" y="12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52" y="3"/>
                </a:cxn>
                <a:cxn ang="0">
                  <a:pos x="62" y="12"/>
                </a:cxn>
                <a:cxn ang="0">
                  <a:pos x="69" y="24"/>
                </a:cxn>
                <a:cxn ang="0">
                  <a:pos x="71" y="39"/>
                </a:cxn>
                <a:cxn ang="0">
                  <a:pos x="69" y="55"/>
                </a:cxn>
                <a:cxn ang="0">
                  <a:pos x="63" y="67"/>
                </a:cxn>
                <a:cxn ang="0">
                  <a:pos x="52" y="75"/>
                </a:cxn>
                <a:cxn ang="0">
                  <a:pos x="37" y="78"/>
                </a:cxn>
                <a:cxn ang="0">
                  <a:pos x="31" y="78"/>
                </a:cxn>
                <a:cxn ang="0">
                  <a:pos x="24" y="76"/>
                </a:cxn>
                <a:cxn ang="0">
                  <a:pos x="18" y="72"/>
                </a:cxn>
                <a:cxn ang="0">
                  <a:pos x="13" y="67"/>
                </a:cxn>
                <a:cxn ang="0">
                  <a:pos x="12" y="67"/>
                </a:cxn>
                <a:cxn ang="0">
                  <a:pos x="12" y="106"/>
                </a:cxn>
                <a:cxn ang="0">
                  <a:pos x="0" y="106"/>
                </a:cxn>
                <a:cxn ang="0">
                  <a:pos x="0" y="2"/>
                </a:cxn>
                <a:cxn ang="0">
                  <a:pos x="57" y="28"/>
                </a:cxn>
                <a:cxn ang="0">
                  <a:pos x="52" y="19"/>
                </a:cxn>
                <a:cxn ang="0">
                  <a:pos x="45" y="13"/>
                </a:cxn>
                <a:cxn ang="0">
                  <a:pos x="35" y="11"/>
                </a:cxn>
                <a:cxn ang="0">
                  <a:pos x="24" y="13"/>
                </a:cxn>
                <a:cxn ang="0">
                  <a:pos x="17" y="20"/>
                </a:cxn>
                <a:cxn ang="0">
                  <a:pos x="13" y="29"/>
                </a:cxn>
                <a:cxn ang="0">
                  <a:pos x="12" y="39"/>
                </a:cxn>
                <a:cxn ang="0">
                  <a:pos x="13" y="50"/>
                </a:cxn>
                <a:cxn ang="0">
                  <a:pos x="17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6" y="65"/>
                </a:cxn>
                <a:cxn ang="0">
                  <a:pos x="53" y="59"/>
                </a:cxn>
                <a:cxn ang="0">
                  <a:pos x="57" y="49"/>
                </a:cxn>
                <a:cxn ang="0">
                  <a:pos x="58" y="39"/>
                </a:cxn>
                <a:cxn ang="0">
                  <a:pos x="57" y="28"/>
                </a:cxn>
              </a:cxnLst>
              <a:rect l="0" t="0" r="r" b="b"/>
              <a:pathLst>
                <a:path w="71" h="106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8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56" y="5"/>
                    <a:pt x="60" y="8"/>
                    <a:pt x="62" y="12"/>
                  </a:cubicBezTo>
                  <a:cubicBezTo>
                    <a:pt x="65" y="15"/>
                    <a:pt x="67" y="20"/>
                    <a:pt x="69" y="24"/>
                  </a:cubicBezTo>
                  <a:cubicBezTo>
                    <a:pt x="70" y="29"/>
                    <a:pt x="71" y="34"/>
                    <a:pt x="71" y="39"/>
                  </a:cubicBezTo>
                  <a:cubicBezTo>
                    <a:pt x="71" y="45"/>
                    <a:pt x="70" y="50"/>
                    <a:pt x="69" y="55"/>
                  </a:cubicBezTo>
                  <a:cubicBezTo>
                    <a:pt x="68" y="59"/>
                    <a:pt x="65" y="63"/>
                    <a:pt x="63" y="67"/>
                  </a:cubicBezTo>
                  <a:cubicBezTo>
                    <a:pt x="60" y="70"/>
                    <a:pt x="56" y="73"/>
                    <a:pt x="52" y="75"/>
                  </a:cubicBezTo>
                  <a:cubicBezTo>
                    <a:pt x="48" y="77"/>
                    <a:pt x="42" y="78"/>
                    <a:pt x="37" y="78"/>
                  </a:cubicBezTo>
                  <a:cubicBezTo>
                    <a:pt x="35" y="78"/>
                    <a:pt x="33" y="78"/>
                    <a:pt x="31" y="78"/>
                  </a:cubicBezTo>
                  <a:cubicBezTo>
                    <a:pt x="28" y="78"/>
                    <a:pt x="26" y="77"/>
                    <a:pt x="24" y="76"/>
                  </a:cubicBezTo>
                  <a:cubicBezTo>
                    <a:pt x="22" y="75"/>
                    <a:pt x="20" y="74"/>
                    <a:pt x="18" y="72"/>
                  </a:cubicBezTo>
                  <a:cubicBezTo>
                    <a:pt x="16" y="71"/>
                    <a:pt x="14" y="69"/>
                    <a:pt x="13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0" y="106"/>
                    <a:pt x="0" y="106"/>
                    <a:pt x="0" y="106"/>
                  </a:cubicBezTo>
                  <a:lnTo>
                    <a:pt x="0" y="2"/>
                  </a:lnTo>
                  <a:close/>
                  <a:moveTo>
                    <a:pt x="57" y="28"/>
                  </a:moveTo>
                  <a:cubicBezTo>
                    <a:pt x="56" y="25"/>
                    <a:pt x="54" y="22"/>
                    <a:pt x="52" y="19"/>
                  </a:cubicBezTo>
                  <a:cubicBezTo>
                    <a:pt x="51" y="17"/>
                    <a:pt x="48" y="15"/>
                    <a:pt x="45" y="13"/>
                  </a:cubicBezTo>
                  <a:cubicBezTo>
                    <a:pt x="42" y="12"/>
                    <a:pt x="39" y="11"/>
                    <a:pt x="35" y="11"/>
                  </a:cubicBezTo>
                  <a:cubicBezTo>
                    <a:pt x="31" y="11"/>
                    <a:pt x="27" y="12"/>
                    <a:pt x="24" y="13"/>
                  </a:cubicBezTo>
                  <a:cubicBezTo>
                    <a:pt x="21" y="15"/>
                    <a:pt x="19" y="17"/>
                    <a:pt x="17" y="20"/>
                  </a:cubicBezTo>
                  <a:cubicBezTo>
                    <a:pt x="15" y="22"/>
                    <a:pt x="14" y="25"/>
                    <a:pt x="13" y="29"/>
                  </a:cubicBezTo>
                  <a:cubicBezTo>
                    <a:pt x="12" y="32"/>
                    <a:pt x="12" y="36"/>
                    <a:pt x="12" y="39"/>
                  </a:cubicBezTo>
                  <a:cubicBezTo>
                    <a:pt x="12" y="43"/>
                    <a:pt x="12" y="46"/>
                    <a:pt x="13" y="50"/>
                  </a:cubicBezTo>
                  <a:cubicBezTo>
                    <a:pt x="14" y="53"/>
                    <a:pt x="15" y="56"/>
                    <a:pt x="17" y="59"/>
                  </a:cubicBezTo>
                  <a:cubicBezTo>
                    <a:pt x="19" y="61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0" y="68"/>
                    <a:pt x="43" y="67"/>
                    <a:pt x="46" y="65"/>
                  </a:cubicBezTo>
                  <a:cubicBezTo>
                    <a:pt x="49" y="63"/>
                    <a:pt x="51" y="61"/>
                    <a:pt x="53" y="59"/>
                  </a:cubicBezTo>
                  <a:cubicBezTo>
                    <a:pt x="55" y="56"/>
                    <a:pt x="56" y="53"/>
                    <a:pt x="57" y="49"/>
                  </a:cubicBezTo>
                  <a:cubicBezTo>
                    <a:pt x="58" y="46"/>
                    <a:pt x="58" y="42"/>
                    <a:pt x="58" y="39"/>
                  </a:cubicBezTo>
                  <a:cubicBezTo>
                    <a:pt x="58" y="35"/>
                    <a:pt x="58" y="32"/>
                    <a:pt x="5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/>
          </p:nvSpPr>
          <p:spPr bwMode="gray">
            <a:xfrm>
              <a:off x="1938338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gray">
            <a:xfrm>
              <a:off x="2241550" y="4627563"/>
              <a:ext cx="15081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23" y="4"/>
                </a:cxn>
                <a:cxn ang="0">
                  <a:pos x="40" y="0"/>
                </a:cxn>
                <a:cxn ang="0">
                  <a:pos x="40" y="13"/>
                </a:cxn>
                <a:cxn ang="0">
                  <a:pos x="27" y="15"/>
                </a:cxn>
                <a:cxn ang="0">
                  <a:pos x="18" y="21"/>
                </a:cxn>
                <a:cxn ang="0">
                  <a:pos x="14" y="31"/>
                </a:cxn>
                <a:cxn ang="0">
                  <a:pos x="12" y="43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40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5" y="11"/>
                    <a:pt x="19" y="7"/>
                    <a:pt x="23" y="4"/>
                  </a:cubicBezTo>
                  <a:cubicBezTo>
                    <a:pt x="27" y="1"/>
                    <a:pt x="33" y="0"/>
                    <a:pt x="40" y="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5" y="13"/>
                    <a:pt x="30" y="14"/>
                    <a:pt x="27" y="15"/>
                  </a:cubicBezTo>
                  <a:cubicBezTo>
                    <a:pt x="23" y="16"/>
                    <a:pt x="21" y="18"/>
                    <a:pt x="18" y="21"/>
                  </a:cubicBezTo>
                  <a:cubicBezTo>
                    <a:pt x="16" y="24"/>
                    <a:pt x="15" y="27"/>
                    <a:pt x="14" y="31"/>
                  </a:cubicBezTo>
                  <a:cubicBezTo>
                    <a:pt x="13" y="34"/>
                    <a:pt x="12" y="39"/>
                    <a:pt x="12" y="43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gray">
            <a:xfrm>
              <a:off x="2425700" y="4525963"/>
              <a:ext cx="44450" cy="390525"/>
            </a:xfrm>
            <a:custGeom>
              <a:avLst/>
              <a:gdLst/>
              <a:ahLst/>
              <a:cxnLst>
                <a:cxn ang="0">
                  <a:pos x="28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8" y="35"/>
                </a:cxn>
                <a:cxn ang="0">
                  <a:pos x="0" y="69"/>
                </a:cxn>
                <a:cxn ang="0">
                  <a:pos x="28" y="69"/>
                </a:cxn>
                <a:cxn ang="0">
                  <a:pos x="28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8" h="246">
                  <a:moveTo>
                    <a:pt x="28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35"/>
                  </a:lnTo>
                  <a:close/>
                  <a:moveTo>
                    <a:pt x="0" y="69"/>
                  </a:moveTo>
                  <a:lnTo>
                    <a:pt x="28" y="69"/>
                  </a:lnTo>
                  <a:lnTo>
                    <a:pt x="28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/>
          </p:nvSpPr>
          <p:spPr bwMode="gray">
            <a:xfrm>
              <a:off x="2527300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2" y="76"/>
                    <a:pt x="44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gray">
            <a:xfrm>
              <a:off x="2832100" y="4627563"/>
              <a:ext cx="236538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7" y="0"/>
                </a:cxn>
                <a:cxn ang="0">
                  <a:pos x="49" y="2"/>
                </a:cxn>
                <a:cxn ang="0">
                  <a:pos x="57" y="8"/>
                </a:cxn>
                <a:cxn ang="0">
                  <a:pos x="61" y="16"/>
                </a:cxn>
                <a:cxn ang="0">
                  <a:pos x="63" y="27"/>
                </a:cxn>
                <a:cxn ang="0">
                  <a:pos x="63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6" y="15"/>
                </a:cxn>
                <a:cxn ang="0">
                  <a:pos x="35" y="11"/>
                </a:cxn>
                <a:cxn ang="0">
                  <a:pos x="25" y="13"/>
                </a:cxn>
                <a:cxn ang="0">
                  <a:pos x="18" y="17"/>
                </a:cxn>
                <a:cxn ang="0">
                  <a:pos x="14" y="25"/>
                </a:cxn>
                <a:cxn ang="0">
                  <a:pos x="13" y="34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3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5" y="9"/>
                    <a:pt x="18" y="5"/>
                    <a:pt x="22" y="3"/>
                  </a:cubicBezTo>
                  <a:cubicBezTo>
                    <a:pt x="27" y="1"/>
                    <a:pt x="31" y="0"/>
                    <a:pt x="37" y="0"/>
                  </a:cubicBezTo>
                  <a:cubicBezTo>
                    <a:pt x="42" y="0"/>
                    <a:pt x="46" y="1"/>
                    <a:pt x="49" y="2"/>
                  </a:cubicBezTo>
                  <a:cubicBezTo>
                    <a:pt x="52" y="3"/>
                    <a:pt x="55" y="5"/>
                    <a:pt x="57" y="8"/>
                  </a:cubicBezTo>
                  <a:cubicBezTo>
                    <a:pt x="59" y="10"/>
                    <a:pt x="61" y="13"/>
                    <a:pt x="61" y="16"/>
                  </a:cubicBezTo>
                  <a:cubicBezTo>
                    <a:pt x="62" y="20"/>
                    <a:pt x="63" y="23"/>
                    <a:pt x="63" y="2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9" y="18"/>
                    <a:pt x="46" y="15"/>
                  </a:cubicBezTo>
                  <a:cubicBezTo>
                    <a:pt x="43" y="12"/>
                    <a:pt x="40" y="11"/>
                    <a:pt x="35" y="11"/>
                  </a:cubicBezTo>
                  <a:cubicBezTo>
                    <a:pt x="31" y="11"/>
                    <a:pt x="28" y="11"/>
                    <a:pt x="25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6" y="20"/>
                    <a:pt x="15" y="22"/>
                    <a:pt x="14" y="25"/>
                  </a:cubicBezTo>
                  <a:cubicBezTo>
                    <a:pt x="13" y="28"/>
                    <a:pt x="13" y="31"/>
                    <a:pt x="13" y="34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gray">
            <a:xfrm>
              <a:off x="3121025" y="4627563"/>
              <a:ext cx="255588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8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4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5" y="49"/>
                </a:cxn>
                <a:cxn ang="0">
                  <a:pos x="68" y="49"/>
                </a:cxn>
                <a:cxn ang="0">
                  <a:pos x="57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8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8" y="12"/>
                </a:cxn>
                <a:cxn ang="0">
                  <a:pos x="19" y="3"/>
                </a:cxn>
                <a:cxn ang="0">
                  <a:pos x="35" y="0"/>
                </a:cxn>
                <a:cxn ang="0">
                  <a:pos x="47" y="1"/>
                </a:cxn>
                <a:cxn ang="0">
                  <a:pos x="57" y="6"/>
                </a:cxn>
                <a:cxn ang="0">
                  <a:pos x="64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8" y="15"/>
                  </a:cubicBezTo>
                  <a:cubicBezTo>
                    <a:pt x="45" y="12"/>
                    <a:pt x="41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19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19" y="62"/>
                    <a:pt x="22" y="64"/>
                    <a:pt x="24" y="65"/>
                  </a:cubicBezTo>
                  <a:cubicBezTo>
                    <a:pt x="27" y="67"/>
                    <a:pt x="31" y="68"/>
                    <a:pt x="35" y="68"/>
                  </a:cubicBezTo>
                  <a:cubicBezTo>
                    <a:pt x="41" y="68"/>
                    <a:pt x="45" y="66"/>
                    <a:pt x="49" y="63"/>
                  </a:cubicBezTo>
                  <a:cubicBezTo>
                    <a:pt x="52" y="59"/>
                    <a:pt x="54" y="55"/>
                    <a:pt x="55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6" y="58"/>
                    <a:pt x="63" y="66"/>
                    <a:pt x="57" y="71"/>
                  </a:cubicBezTo>
                  <a:cubicBezTo>
                    <a:pt x="52" y="76"/>
                    <a:pt x="44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5" y="74"/>
                    <a:pt x="11" y="71"/>
                    <a:pt x="8" y="68"/>
                  </a:cubicBezTo>
                  <a:cubicBezTo>
                    <a:pt x="6" y="64"/>
                    <a:pt x="3" y="60"/>
                    <a:pt x="2" y="56"/>
                  </a:cubicBezTo>
                  <a:cubicBezTo>
                    <a:pt x="0" y="51"/>
                    <a:pt x="0" y="46"/>
                    <a:pt x="0" y="40"/>
                  </a:cubicBezTo>
                  <a:cubicBezTo>
                    <a:pt x="0" y="35"/>
                    <a:pt x="0" y="29"/>
                    <a:pt x="2" y="24"/>
                  </a:cubicBezTo>
                  <a:cubicBezTo>
                    <a:pt x="3" y="19"/>
                    <a:pt x="5" y="15"/>
                    <a:pt x="8" y="12"/>
                  </a:cubicBezTo>
                  <a:cubicBezTo>
                    <a:pt x="11" y="8"/>
                    <a:pt x="15" y="5"/>
                    <a:pt x="19" y="3"/>
                  </a:cubicBezTo>
                  <a:cubicBezTo>
                    <a:pt x="24" y="1"/>
                    <a:pt x="29" y="0"/>
                    <a:pt x="35" y="0"/>
                  </a:cubicBezTo>
                  <a:cubicBezTo>
                    <a:pt x="39" y="0"/>
                    <a:pt x="43" y="0"/>
                    <a:pt x="47" y="1"/>
                  </a:cubicBezTo>
                  <a:cubicBezTo>
                    <a:pt x="51" y="2"/>
                    <a:pt x="54" y="4"/>
                    <a:pt x="57" y="6"/>
                  </a:cubicBezTo>
                  <a:cubicBezTo>
                    <a:pt x="60" y="8"/>
                    <a:pt x="62" y="11"/>
                    <a:pt x="64" y="14"/>
                  </a:cubicBezTo>
                  <a:cubicBezTo>
                    <a:pt x="66" y="17"/>
                    <a:pt x="67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" name="Freeform 17"/>
            <p:cNvSpPr>
              <a:spLocks noEditPoints="1"/>
            </p:cNvSpPr>
            <p:nvPr/>
          </p:nvSpPr>
          <p:spPr bwMode="gray">
            <a:xfrm>
              <a:off x="3409950" y="4627563"/>
              <a:ext cx="261938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4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6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7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0" y="11"/>
                    <a:pt x="38" y="11"/>
                    <a:pt x="35" y="11"/>
                  </a:cubicBezTo>
                  <a:cubicBezTo>
                    <a:pt x="31" y="11"/>
                    <a:pt x="29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gray">
            <a:xfrm>
              <a:off x="3833813" y="4548188"/>
              <a:ext cx="150813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6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5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3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6" y="83"/>
                    <a:pt x="26" y="84"/>
                  </a:cubicBezTo>
                  <a:cubicBezTo>
                    <a:pt x="26" y="85"/>
                    <a:pt x="27" y="85"/>
                    <a:pt x="27" y="86"/>
                  </a:cubicBezTo>
                  <a:cubicBezTo>
                    <a:pt x="28" y="86"/>
                    <a:pt x="29" y="86"/>
                    <a:pt x="30" y="87"/>
                  </a:cubicBezTo>
                  <a:cubicBezTo>
                    <a:pt x="31" y="87"/>
                    <a:pt x="33" y="87"/>
                    <a:pt x="35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8" y="98"/>
                    <a:pt x="25" y="98"/>
                    <a:pt x="23" y="97"/>
                  </a:cubicBezTo>
                  <a:cubicBezTo>
                    <a:pt x="21" y="97"/>
                    <a:pt x="19" y="96"/>
                    <a:pt x="17" y="95"/>
                  </a:cubicBezTo>
                  <a:cubicBezTo>
                    <a:pt x="16" y="94"/>
                    <a:pt x="15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gray">
            <a:xfrm>
              <a:off x="4037013" y="4525963"/>
              <a:ext cx="233363" cy="390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16" y="34"/>
                </a:cxn>
                <a:cxn ang="0">
                  <a:pos x="22" y="30"/>
                </a:cxn>
                <a:cxn ang="0">
                  <a:pos x="29" y="28"/>
                </a:cxn>
                <a:cxn ang="0">
                  <a:pos x="36" y="27"/>
                </a:cxn>
                <a:cxn ang="0">
                  <a:pos x="48" y="29"/>
                </a:cxn>
                <a:cxn ang="0">
                  <a:pos x="56" y="35"/>
                </a:cxn>
                <a:cxn ang="0">
                  <a:pos x="60" y="43"/>
                </a:cxn>
                <a:cxn ang="0">
                  <a:pos x="62" y="54"/>
                </a:cxn>
                <a:cxn ang="0">
                  <a:pos x="62" y="104"/>
                </a:cxn>
                <a:cxn ang="0">
                  <a:pos x="49" y="104"/>
                </a:cxn>
                <a:cxn ang="0">
                  <a:pos x="49" y="53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24" y="40"/>
                </a:cxn>
                <a:cxn ang="0">
                  <a:pos x="17" y="44"/>
                </a:cxn>
                <a:cxn ang="0">
                  <a:pos x="13" y="52"/>
                </a:cxn>
                <a:cxn ang="0">
                  <a:pos x="12" y="61"/>
                </a:cxn>
                <a:cxn ang="0">
                  <a:pos x="12" y="104"/>
                </a:cxn>
                <a:cxn ang="0">
                  <a:pos x="0" y="104"/>
                </a:cxn>
                <a:cxn ang="0">
                  <a:pos x="0" y="0"/>
                </a:cxn>
              </a:cxnLst>
              <a:rect l="0" t="0" r="r" b="b"/>
              <a:pathLst>
                <a:path w="62" h="104">
                  <a:moveTo>
                    <a:pt x="0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3" y="37"/>
                    <a:pt x="15" y="35"/>
                    <a:pt x="16" y="34"/>
                  </a:cubicBezTo>
                  <a:cubicBezTo>
                    <a:pt x="18" y="32"/>
                    <a:pt x="20" y="31"/>
                    <a:pt x="22" y="30"/>
                  </a:cubicBezTo>
                  <a:cubicBezTo>
                    <a:pt x="24" y="29"/>
                    <a:pt x="27" y="28"/>
                    <a:pt x="29" y="28"/>
                  </a:cubicBezTo>
                  <a:cubicBezTo>
                    <a:pt x="31" y="27"/>
                    <a:pt x="34" y="27"/>
                    <a:pt x="36" y="27"/>
                  </a:cubicBezTo>
                  <a:cubicBezTo>
                    <a:pt x="41" y="27"/>
                    <a:pt x="45" y="28"/>
                    <a:pt x="48" y="29"/>
                  </a:cubicBezTo>
                  <a:cubicBezTo>
                    <a:pt x="52" y="30"/>
                    <a:pt x="54" y="32"/>
                    <a:pt x="56" y="35"/>
                  </a:cubicBezTo>
                  <a:cubicBezTo>
                    <a:pt x="58" y="37"/>
                    <a:pt x="60" y="40"/>
                    <a:pt x="60" y="43"/>
                  </a:cubicBezTo>
                  <a:cubicBezTo>
                    <a:pt x="61" y="47"/>
                    <a:pt x="62" y="50"/>
                    <a:pt x="62" y="5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8"/>
                    <a:pt x="48" y="45"/>
                    <a:pt x="45" y="42"/>
                  </a:cubicBezTo>
                  <a:cubicBezTo>
                    <a:pt x="43" y="39"/>
                    <a:pt x="39" y="38"/>
                    <a:pt x="34" y="38"/>
                  </a:cubicBezTo>
                  <a:cubicBezTo>
                    <a:pt x="30" y="38"/>
                    <a:pt x="27" y="38"/>
                    <a:pt x="24" y="40"/>
                  </a:cubicBezTo>
                  <a:cubicBezTo>
                    <a:pt x="22" y="41"/>
                    <a:pt x="19" y="42"/>
                    <a:pt x="17" y="44"/>
                  </a:cubicBezTo>
                  <a:cubicBezTo>
                    <a:pt x="16" y="47"/>
                    <a:pt x="14" y="49"/>
                    <a:pt x="13" y="52"/>
                  </a:cubicBezTo>
                  <a:cubicBezTo>
                    <a:pt x="12" y="55"/>
                    <a:pt x="12" y="58"/>
                    <a:pt x="12" y="6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8" name="Freeform 20"/>
            <p:cNvSpPr>
              <a:spLocks noEditPoints="1"/>
            </p:cNvSpPr>
            <p:nvPr/>
          </p:nvSpPr>
          <p:spPr bwMode="gray">
            <a:xfrm>
              <a:off x="4322763" y="4627563"/>
              <a:ext cx="258763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0" y="76"/>
                </a:cxn>
                <a:cxn ang="0">
                  <a:pos x="9" y="67"/>
                </a:cxn>
                <a:cxn ang="0">
                  <a:pos x="2" y="55"/>
                </a:cxn>
                <a:cxn ang="0">
                  <a:pos x="0" y="39"/>
                </a:cxn>
                <a:cxn ang="0">
                  <a:pos x="2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5" y="0"/>
                </a:cxn>
                <a:cxn ang="0">
                  <a:pos x="52" y="4"/>
                </a:cxn>
                <a:cxn ang="0">
                  <a:pos x="62" y="15"/>
                </a:cxn>
                <a:cxn ang="0">
                  <a:pos x="68" y="28"/>
                </a:cxn>
                <a:cxn ang="0">
                  <a:pos x="69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8" y="60"/>
                </a:cxn>
                <a:cxn ang="0">
                  <a:pos x="26" y="66"/>
                </a:cxn>
                <a:cxn ang="0">
                  <a:pos x="36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49" y="17"/>
                </a:cxn>
                <a:cxn ang="0">
                  <a:pos x="43" y="12"/>
                </a:cxn>
                <a:cxn ang="0">
                  <a:pos x="34" y="11"/>
                </a:cxn>
                <a:cxn ang="0">
                  <a:pos x="26" y="12"/>
                </a:cxn>
                <a:cxn ang="0">
                  <a:pos x="19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69" h="78">
                  <a:moveTo>
                    <a:pt x="68" y="53"/>
                  </a:moveTo>
                  <a:cubicBezTo>
                    <a:pt x="66" y="61"/>
                    <a:pt x="63" y="68"/>
                    <a:pt x="57" y="72"/>
                  </a:cubicBezTo>
                  <a:cubicBezTo>
                    <a:pt x="51" y="76"/>
                    <a:pt x="44" y="78"/>
                    <a:pt x="36" y="78"/>
                  </a:cubicBezTo>
                  <a:cubicBezTo>
                    <a:pt x="30" y="78"/>
                    <a:pt x="24" y="77"/>
                    <a:pt x="20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2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2" y="23"/>
                  </a:cubicBezTo>
                  <a:cubicBezTo>
                    <a:pt x="4" y="19"/>
                    <a:pt x="6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5" y="1"/>
                    <a:pt x="30" y="0"/>
                    <a:pt x="35" y="0"/>
                  </a:cubicBezTo>
                  <a:cubicBezTo>
                    <a:pt x="42" y="0"/>
                    <a:pt x="47" y="1"/>
                    <a:pt x="52" y="4"/>
                  </a:cubicBezTo>
                  <a:cubicBezTo>
                    <a:pt x="56" y="7"/>
                    <a:pt x="60" y="10"/>
                    <a:pt x="62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69" y="38"/>
                    <a:pt x="69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3" y="49"/>
                    <a:pt x="14" y="52"/>
                  </a:cubicBezTo>
                  <a:cubicBezTo>
                    <a:pt x="15" y="55"/>
                    <a:pt x="16" y="58"/>
                    <a:pt x="18" y="60"/>
                  </a:cubicBezTo>
                  <a:cubicBezTo>
                    <a:pt x="20" y="62"/>
                    <a:pt x="23" y="64"/>
                    <a:pt x="26" y="66"/>
                  </a:cubicBezTo>
                  <a:cubicBezTo>
                    <a:pt x="29" y="67"/>
                    <a:pt x="32" y="68"/>
                    <a:pt x="36" y="68"/>
                  </a:cubicBezTo>
                  <a:cubicBezTo>
                    <a:pt x="41" y="68"/>
                    <a:pt x="46" y="66"/>
                    <a:pt x="49" y="64"/>
                  </a:cubicBezTo>
                  <a:cubicBezTo>
                    <a:pt x="52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5" y="26"/>
                    <a:pt x="54" y="24"/>
                  </a:cubicBezTo>
                  <a:cubicBezTo>
                    <a:pt x="53" y="21"/>
                    <a:pt x="51" y="19"/>
                    <a:pt x="49" y="17"/>
                  </a:cubicBezTo>
                  <a:cubicBezTo>
                    <a:pt x="48" y="15"/>
                    <a:pt x="45" y="14"/>
                    <a:pt x="43" y="12"/>
                  </a:cubicBezTo>
                  <a:cubicBezTo>
                    <a:pt x="40" y="11"/>
                    <a:pt x="37" y="11"/>
                    <a:pt x="34" y="11"/>
                  </a:cubicBezTo>
                  <a:cubicBezTo>
                    <a:pt x="31" y="11"/>
                    <a:pt x="28" y="11"/>
                    <a:pt x="26" y="12"/>
                  </a:cubicBezTo>
                  <a:cubicBezTo>
                    <a:pt x="23" y="14"/>
                    <a:pt x="21" y="15"/>
                    <a:pt x="19" y="17"/>
                  </a:cubicBezTo>
                  <a:cubicBezTo>
                    <a:pt x="17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gray">
            <a:xfrm>
              <a:off x="4762500" y="4627563"/>
              <a:ext cx="254000" cy="293688"/>
            </a:xfrm>
            <a:custGeom>
              <a:avLst/>
              <a:gdLst/>
              <a:ahLst/>
              <a:cxnLst>
                <a:cxn ang="0">
                  <a:pos x="55" y="26"/>
                </a:cxn>
                <a:cxn ang="0">
                  <a:pos x="49" y="15"/>
                </a:cxn>
                <a:cxn ang="0">
                  <a:pos x="36" y="11"/>
                </a:cxn>
                <a:cxn ang="0">
                  <a:pos x="25" y="13"/>
                </a:cxn>
                <a:cxn ang="0">
                  <a:pos x="18" y="20"/>
                </a:cxn>
                <a:cxn ang="0">
                  <a:pos x="14" y="29"/>
                </a:cxn>
                <a:cxn ang="0">
                  <a:pos x="13" y="40"/>
                </a:cxn>
                <a:cxn ang="0">
                  <a:pos x="14" y="50"/>
                </a:cxn>
                <a:cxn ang="0">
                  <a:pos x="18" y="59"/>
                </a:cxn>
                <a:cxn ang="0">
                  <a:pos x="25" y="65"/>
                </a:cxn>
                <a:cxn ang="0">
                  <a:pos x="35" y="68"/>
                </a:cxn>
                <a:cxn ang="0">
                  <a:pos x="49" y="63"/>
                </a:cxn>
                <a:cxn ang="0">
                  <a:pos x="56" y="49"/>
                </a:cxn>
                <a:cxn ang="0">
                  <a:pos x="68" y="49"/>
                </a:cxn>
                <a:cxn ang="0">
                  <a:pos x="58" y="71"/>
                </a:cxn>
                <a:cxn ang="0">
                  <a:pos x="35" y="78"/>
                </a:cxn>
                <a:cxn ang="0">
                  <a:pos x="20" y="76"/>
                </a:cxn>
                <a:cxn ang="0">
                  <a:pos x="9" y="68"/>
                </a:cxn>
                <a:cxn ang="0">
                  <a:pos x="2" y="56"/>
                </a:cxn>
                <a:cxn ang="0">
                  <a:pos x="0" y="40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6" y="0"/>
                </a:cxn>
                <a:cxn ang="0">
                  <a:pos x="48" y="1"/>
                </a:cxn>
                <a:cxn ang="0">
                  <a:pos x="58" y="6"/>
                </a:cxn>
                <a:cxn ang="0">
                  <a:pos x="65" y="14"/>
                </a:cxn>
                <a:cxn ang="0">
                  <a:pos x="68" y="26"/>
                </a:cxn>
                <a:cxn ang="0">
                  <a:pos x="55" y="26"/>
                </a:cxn>
              </a:cxnLst>
              <a:rect l="0" t="0" r="r" b="b"/>
              <a:pathLst>
                <a:path w="68" h="78">
                  <a:moveTo>
                    <a:pt x="55" y="26"/>
                  </a:moveTo>
                  <a:cubicBezTo>
                    <a:pt x="54" y="21"/>
                    <a:pt x="52" y="17"/>
                    <a:pt x="49" y="15"/>
                  </a:cubicBezTo>
                  <a:cubicBezTo>
                    <a:pt x="46" y="12"/>
                    <a:pt x="42" y="11"/>
                    <a:pt x="36" y="11"/>
                  </a:cubicBezTo>
                  <a:cubicBezTo>
                    <a:pt x="32" y="11"/>
                    <a:pt x="28" y="12"/>
                    <a:pt x="25" y="13"/>
                  </a:cubicBezTo>
                  <a:cubicBezTo>
                    <a:pt x="22" y="15"/>
                    <a:pt x="20" y="17"/>
                    <a:pt x="18" y="20"/>
                  </a:cubicBezTo>
                  <a:cubicBezTo>
                    <a:pt x="16" y="22"/>
                    <a:pt x="15" y="26"/>
                    <a:pt x="14" y="29"/>
                  </a:cubicBezTo>
                  <a:cubicBezTo>
                    <a:pt x="13" y="33"/>
                    <a:pt x="13" y="36"/>
                    <a:pt x="13" y="40"/>
                  </a:cubicBezTo>
                  <a:cubicBezTo>
                    <a:pt x="13" y="44"/>
                    <a:pt x="13" y="47"/>
                    <a:pt x="14" y="50"/>
                  </a:cubicBezTo>
                  <a:cubicBezTo>
                    <a:pt x="15" y="54"/>
                    <a:pt x="16" y="57"/>
                    <a:pt x="18" y="59"/>
                  </a:cubicBezTo>
                  <a:cubicBezTo>
                    <a:pt x="20" y="62"/>
                    <a:pt x="22" y="64"/>
                    <a:pt x="25" y="65"/>
                  </a:cubicBezTo>
                  <a:cubicBezTo>
                    <a:pt x="28" y="67"/>
                    <a:pt x="31" y="68"/>
                    <a:pt x="35" y="68"/>
                  </a:cubicBezTo>
                  <a:cubicBezTo>
                    <a:pt x="41" y="68"/>
                    <a:pt x="46" y="66"/>
                    <a:pt x="49" y="63"/>
                  </a:cubicBezTo>
                  <a:cubicBezTo>
                    <a:pt x="53" y="59"/>
                    <a:pt x="55" y="55"/>
                    <a:pt x="56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7" y="58"/>
                    <a:pt x="63" y="66"/>
                    <a:pt x="58" y="71"/>
                  </a:cubicBezTo>
                  <a:cubicBezTo>
                    <a:pt x="52" y="76"/>
                    <a:pt x="45" y="78"/>
                    <a:pt x="35" y="78"/>
                  </a:cubicBezTo>
                  <a:cubicBezTo>
                    <a:pt x="29" y="78"/>
                    <a:pt x="24" y="78"/>
                    <a:pt x="20" y="76"/>
                  </a:cubicBezTo>
                  <a:cubicBezTo>
                    <a:pt x="16" y="74"/>
                    <a:pt x="12" y="71"/>
                    <a:pt x="9" y="68"/>
                  </a:cubicBezTo>
                  <a:cubicBezTo>
                    <a:pt x="6" y="64"/>
                    <a:pt x="4" y="60"/>
                    <a:pt x="2" y="56"/>
                  </a:cubicBezTo>
                  <a:cubicBezTo>
                    <a:pt x="1" y="51"/>
                    <a:pt x="0" y="46"/>
                    <a:pt x="0" y="40"/>
                  </a:cubicBezTo>
                  <a:cubicBezTo>
                    <a:pt x="0" y="35"/>
                    <a:pt x="1" y="29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5" y="5"/>
                    <a:pt x="20" y="3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0" y="0"/>
                    <a:pt x="44" y="0"/>
                    <a:pt x="48" y="1"/>
                  </a:cubicBezTo>
                  <a:cubicBezTo>
                    <a:pt x="51" y="2"/>
                    <a:pt x="55" y="4"/>
                    <a:pt x="58" y="6"/>
                  </a:cubicBezTo>
                  <a:cubicBezTo>
                    <a:pt x="60" y="8"/>
                    <a:pt x="63" y="11"/>
                    <a:pt x="65" y="14"/>
                  </a:cubicBezTo>
                  <a:cubicBezTo>
                    <a:pt x="66" y="17"/>
                    <a:pt x="68" y="21"/>
                    <a:pt x="68" y="26"/>
                  </a:cubicBezTo>
                  <a:lnTo>
                    <a:pt x="5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0" name="Freeform 22"/>
            <p:cNvSpPr>
              <a:spLocks noEditPoints="1"/>
            </p:cNvSpPr>
            <p:nvPr/>
          </p:nvSpPr>
          <p:spPr bwMode="gray">
            <a:xfrm>
              <a:off x="5051425" y="4627563"/>
              <a:ext cx="273050" cy="293688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7" y="0"/>
                </a:cxn>
                <a:cxn ang="0">
                  <a:pos x="53" y="3"/>
                </a:cxn>
                <a:cxn ang="0">
                  <a:pos x="64" y="11"/>
                </a:cxn>
                <a:cxn ang="0">
                  <a:pos x="71" y="24"/>
                </a:cxn>
                <a:cxn ang="0">
                  <a:pos x="73" y="39"/>
                </a:cxn>
                <a:cxn ang="0">
                  <a:pos x="71" y="55"/>
                </a:cxn>
                <a:cxn ang="0">
                  <a:pos x="64" y="67"/>
                </a:cxn>
                <a:cxn ang="0">
                  <a:pos x="53" y="75"/>
                </a:cxn>
                <a:cxn ang="0">
                  <a:pos x="37" y="78"/>
                </a:cxn>
                <a:cxn ang="0">
                  <a:pos x="21" y="75"/>
                </a:cxn>
                <a:cxn ang="0">
                  <a:pos x="10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4"/>
                </a:cxn>
                <a:cxn ang="0">
                  <a:pos x="15" y="51"/>
                </a:cxn>
                <a:cxn ang="0">
                  <a:pos x="20" y="60"/>
                </a:cxn>
                <a:cxn ang="0">
                  <a:pos x="28" y="66"/>
                </a:cxn>
                <a:cxn ang="0">
                  <a:pos x="37" y="68"/>
                </a:cxn>
                <a:cxn ang="0">
                  <a:pos x="46" y="66"/>
                </a:cxn>
                <a:cxn ang="0">
                  <a:pos x="53" y="60"/>
                </a:cxn>
                <a:cxn ang="0">
                  <a:pos x="58" y="51"/>
                </a:cxn>
                <a:cxn ang="0">
                  <a:pos x="60" y="39"/>
                </a:cxn>
                <a:cxn ang="0">
                  <a:pos x="58" y="27"/>
                </a:cxn>
                <a:cxn ang="0">
                  <a:pos x="53" y="18"/>
                </a:cxn>
                <a:cxn ang="0">
                  <a:pos x="46" y="13"/>
                </a:cxn>
                <a:cxn ang="0">
                  <a:pos x="37" y="11"/>
                </a:cxn>
                <a:cxn ang="0">
                  <a:pos x="28" y="13"/>
                </a:cxn>
                <a:cxn ang="0">
                  <a:pos x="20" y="18"/>
                </a:cxn>
                <a:cxn ang="0">
                  <a:pos x="15" y="27"/>
                </a:cxn>
                <a:cxn ang="0">
                  <a:pos x="13" y="39"/>
                </a:cxn>
                <a:cxn ang="0">
                  <a:pos x="15" y="51"/>
                </a:cxn>
              </a:cxnLst>
              <a:rect l="0" t="0" r="r" b="b"/>
              <a:pathLst>
                <a:path w="73" h="78">
                  <a:moveTo>
                    <a:pt x="3" y="24"/>
                  </a:moveTo>
                  <a:cubicBezTo>
                    <a:pt x="4" y="19"/>
                    <a:pt x="7" y="15"/>
                    <a:pt x="10" y="11"/>
                  </a:cubicBezTo>
                  <a:cubicBezTo>
                    <a:pt x="13" y="8"/>
                    <a:pt x="17" y="5"/>
                    <a:pt x="21" y="3"/>
                  </a:cubicBezTo>
                  <a:cubicBezTo>
                    <a:pt x="26" y="1"/>
                    <a:pt x="31" y="0"/>
                    <a:pt x="37" y="0"/>
                  </a:cubicBezTo>
                  <a:cubicBezTo>
                    <a:pt x="43" y="0"/>
                    <a:pt x="48" y="1"/>
                    <a:pt x="53" y="3"/>
                  </a:cubicBezTo>
                  <a:cubicBezTo>
                    <a:pt x="57" y="5"/>
                    <a:pt x="61" y="8"/>
                    <a:pt x="64" y="11"/>
                  </a:cubicBezTo>
                  <a:cubicBezTo>
                    <a:pt x="67" y="15"/>
                    <a:pt x="69" y="19"/>
                    <a:pt x="71" y="24"/>
                  </a:cubicBezTo>
                  <a:cubicBezTo>
                    <a:pt x="73" y="29"/>
                    <a:pt x="73" y="34"/>
                    <a:pt x="73" y="39"/>
                  </a:cubicBezTo>
                  <a:cubicBezTo>
                    <a:pt x="73" y="45"/>
                    <a:pt x="73" y="50"/>
                    <a:pt x="71" y="55"/>
                  </a:cubicBezTo>
                  <a:cubicBezTo>
                    <a:pt x="69" y="59"/>
                    <a:pt x="67" y="64"/>
                    <a:pt x="64" y="67"/>
                  </a:cubicBezTo>
                  <a:cubicBezTo>
                    <a:pt x="61" y="71"/>
                    <a:pt x="57" y="73"/>
                    <a:pt x="53" y="75"/>
                  </a:cubicBezTo>
                  <a:cubicBezTo>
                    <a:pt x="48" y="77"/>
                    <a:pt x="43" y="78"/>
                    <a:pt x="37" y="78"/>
                  </a:cubicBezTo>
                  <a:cubicBezTo>
                    <a:pt x="31" y="78"/>
                    <a:pt x="26" y="77"/>
                    <a:pt x="21" y="75"/>
                  </a:cubicBezTo>
                  <a:cubicBezTo>
                    <a:pt x="17" y="73"/>
                    <a:pt x="13" y="71"/>
                    <a:pt x="10" y="67"/>
                  </a:cubicBezTo>
                  <a:cubicBezTo>
                    <a:pt x="7" y="64"/>
                    <a:pt x="4" y="59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4"/>
                    <a:pt x="1" y="29"/>
                    <a:pt x="3" y="24"/>
                  </a:cubicBezTo>
                  <a:close/>
                  <a:moveTo>
                    <a:pt x="15" y="51"/>
                  </a:moveTo>
                  <a:cubicBezTo>
                    <a:pt x="16" y="55"/>
                    <a:pt x="18" y="58"/>
                    <a:pt x="20" y="60"/>
                  </a:cubicBezTo>
                  <a:cubicBezTo>
                    <a:pt x="22" y="63"/>
                    <a:pt x="25" y="64"/>
                    <a:pt x="28" y="66"/>
                  </a:cubicBezTo>
                  <a:cubicBezTo>
                    <a:pt x="31" y="67"/>
                    <a:pt x="34" y="68"/>
                    <a:pt x="37" y="68"/>
                  </a:cubicBezTo>
                  <a:cubicBezTo>
                    <a:pt x="40" y="68"/>
                    <a:pt x="43" y="67"/>
                    <a:pt x="46" y="66"/>
                  </a:cubicBezTo>
                  <a:cubicBezTo>
                    <a:pt x="49" y="64"/>
                    <a:pt x="51" y="63"/>
                    <a:pt x="53" y="60"/>
                  </a:cubicBezTo>
                  <a:cubicBezTo>
                    <a:pt x="56" y="58"/>
                    <a:pt x="57" y="55"/>
                    <a:pt x="58" y="51"/>
                  </a:cubicBezTo>
                  <a:cubicBezTo>
                    <a:pt x="60" y="48"/>
                    <a:pt x="60" y="44"/>
                    <a:pt x="60" y="39"/>
                  </a:cubicBezTo>
                  <a:cubicBezTo>
                    <a:pt x="60" y="35"/>
                    <a:pt x="60" y="31"/>
                    <a:pt x="58" y="27"/>
                  </a:cubicBezTo>
                  <a:cubicBezTo>
                    <a:pt x="57" y="24"/>
                    <a:pt x="56" y="21"/>
                    <a:pt x="53" y="18"/>
                  </a:cubicBezTo>
                  <a:cubicBezTo>
                    <a:pt x="51" y="16"/>
                    <a:pt x="49" y="14"/>
                    <a:pt x="46" y="13"/>
                  </a:cubicBezTo>
                  <a:cubicBezTo>
                    <a:pt x="43" y="11"/>
                    <a:pt x="40" y="11"/>
                    <a:pt x="37" y="11"/>
                  </a:cubicBezTo>
                  <a:cubicBezTo>
                    <a:pt x="34" y="11"/>
                    <a:pt x="31" y="11"/>
                    <a:pt x="28" y="13"/>
                  </a:cubicBezTo>
                  <a:cubicBezTo>
                    <a:pt x="25" y="14"/>
                    <a:pt x="22" y="16"/>
                    <a:pt x="20" y="18"/>
                  </a:cubicBezTo>
                  <a:cubicBezTo>
                    <a:pt x="18" y="21"/>
                    <a:pt x="16" y="24"/>
                    <a:pt x="15" y="27"/>
                  </a:cubicBezTo>
                  <a:cubicBezTo>
                    <a:pt x="14" y="31"/>
                    <a:pt x="13" y="35"/>
                    <a:pt x="13" y="39"/>
                  </a:cubicBezTo>
                  <a:cubicBezTo>
                    <a:pt x="13" y="44"/>
                    <a:pt x="14" y="48"/>
                    <a:pt x="15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gray">
            <a:xfrm>
              <a:off x="5376863" y="4627563"/>
              <a:ext cx="3984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1" y="0"/>
                </a:cxn>
                <a:cxn ang="0">
                  <a:pos x="91" y="1"/>
                </a:cxn>
                <a:cxn ang="0">
                  <a:pos x="99" y="5"/>
                </a:cxn>
                <a:cxn ang="0">
                  <a:pos x="104" y="12"/>
                </a:cxn>
                <a:cxn ang="0">
                  <a:pos x="106" y="22"/>
                </a:cxn>
                <a:cxn ang="0">
                  <a:pos x="106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3" y="21"/>
                </a:cxn>
                <a:cxn ang="0">
                  <a:pos x="91" y="16"/>
                </a:cxn>
                <a:cxn ang="0">
                  <a:pos x="86" y="12"/>
                </a:cxn>
                <a:cxn ang="0">
                  <a:pos x="79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7" y="77"/>
                </a:cxn>
                <a:cxn ang="0">
                  <a:pos x="47" y="27"/>
                </a:cxn>
                <a:cxn ang="0">
                  <a:pos x="46" y="21"/>
                </a:cxn>
                <a:cxn ang="0">
                  <a:pos x="44" y="15"/>
                </a:cxn>
                <a:cxn ang="0">
                  <a:pos x="40" y="12"/>
                </a:cxn>
                <a:cxn ang="0">
                  <a:pos x="33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4" y="25"/>
                </a:cxn>
                <a:cxn ang="0">
                  <a:pos x="13" y="30"/>
                </a:cxn>
                <a:cxn ang="0">
                  <a:pos x="13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6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8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3" y="5"/>
                    <a:pt x="56" y="8"/>
                    <a:pt x="57" y="13"/>
                  </a:cubicBezTo>
                  <a:cubicBezTo>
                    <a:pt x="60" y="9"/>
                    <a:pt x="63" y="5"/>
                    <a:pt x="67" y="3"/>
                  </a:cubicBezTo>
                  <a:cubicBezTo>
                    <a:pt x="71" y="1"/>
                    <a:pt x="76" y="0"/>
                    <a:pt x="81" y="0"/>
                  </a:cubicBezTo>
                  <a:cubicBezTo>
                    <a:pt x="84" y="0"/>
                    <a:pt x="88" y="0"/>
                    <a:pt x="91" y="1"/>
                  </a:cubicBezTo>
                  <a:cubicBezTo>
                    <a:pt x="94" y="2"/>
                    <a:pt x="97" y="3"/>
                    <a:pt x="99" y="5"/>
                  </a:cubicBezTo>
                  <a:cubicBezTo>
                    <a:pt x="101" y="7"/>
                    <a:pt x="103" y="9"/>
                    <a:pt x="104" y="12"/>
                  </a:cubicBezTo>
                  <a:cubicBezTo>
                    <a:pt x="105" y="14"/>
                    <a:pt x="106" y="18"/>
                    <a:pt x="106" y="22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3" y="21"/>
                  </a:cubicBezTo>
                  <a:cubicBezTo>
                    <a:pt x="92" y="19"/>
                    <a:pt x="92" y="17"/>
                    <a:pt x="91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2" y="11"/>
                    <a:pt x="79" y="11"/>
                  </a:cubicBezTo>
                  <a:cubicBezTo>
                    <a:pt x="73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5"/>
                    <a:pt x="47" y="23"/>
                    <a:pt x="46" y="21"/>
                  </a:cubicBezTo>
                  <a:cubicBezTo>
                    <a:pt x="46" y="19"/>
                    <a:pt x="45" y="17"/>
                    <a:pt x="44" y="15"/>
                  </a:cubicBezTo>
                  <a:cubicBezTo>
                    <a:pt x="43" y="14"/>
                    <a:pt x="41" y="13"/>
                    <a:pt x="40" y="12"/>
                  </a:cubicBezTo>
                  <a:cubicBezTo>
                    <a:pt x="38" y="11"/>
                    <a:pt x="35" y="11"/>
                    <a:pt x="33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1" y="14"/>
                    <a:pt x="19" y="16"/>
                    <a:pt x="17" y="18"/>
                  </a:cubicBezTo>
                  <a:cubicBezTo>
                    <a:pt x="16" y="20"/>
                    <a:pt x="14" y="22"/>
                    <a:pt x="14" y="25"/>
                  </a:cubicBezTo>
                  <a:cubicBezTo>
                    <a:pt x="13" y="27"/>
                    <a:pt x="13" y="28"/>
                    <a:pt x="13" y="30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24"/>
            <p:cNvSpPr>
              <a:spLocks/>
            </p:cNvSpPr>
            <p:nvPr/>
          </p:nvSpPr>
          <p:spPr bwMode="gray">
            <a:xfrm>
              <a:off x="5843588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8" y="3"/>
                </a:cxn>
                <a:cxn ang="0">
                  <a:pos x="56" y="13"/>
                </a:cxn>
                <a:cxn ang="0">
                  <a:pos x="66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5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5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5" y="0"/>
                    <a:pt x="36" y="0"/>
                  </a:cubicBezTo>
                  <a:cubicBezTo>
                    <a:pt x="40" y="0"/>
                    <a:pt x="45" y="1"/>
                    <a:pt x="48" y="3"/>
                  </a:cubicBezTo>
                  <a:cubicBezTo>
                    <a:pt x="52" y="5"/>
                    <a:pt x="55" y="8"/>
                    <a:pt x="56" y="13"/>
                  </a:cubicBezTo>
                  <a:cubicBezTo>
                    <a:pt x="59" y="9"/>
                    <a:pt x="62" y="5"/>
                    <a:pt x="66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3" y="2"/>
                    <a:pt x="96" y="3"/>
                    <a:pt x="98" y="5"/>
                  </a:cubicBezTo>
                  <a:cubicBezTo>
                    <a:pt x="100" y="7"/>
                    <a:pt x="102" y="9"/>
                    <a:pt x="103" y="12"/>
                  </a:cubicBezTo>
                  <a:cubicBezTo>
                    <a:pt x="104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2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7" y="13"/>
                    <a:pt x="85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7" y="13"/>
                    <a:pt x="64" y="16"/>
                  </a:cubicBezTo>
                  <a:cubicBezTo>
                    <a:pt x="60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5" y="21"/>
                  </a:cubicBezTo>
                  <a:cubicBezTo>
                    <a:pt x="45" y="19"/>
                    <a:pt x="44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8" y="11"/>
                    <a:pt x="25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2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25"/>
            <p:cNvSpPr>
              <a:spLocks noEditPoints="1"/>
            </p:cNvSpPr>
            <p:nvPr/>
          </p:nvSpPr>
          <p:spPr bwMode="gray">
            <a:xfrm>
              <a:off x="6308725" y="4525963"/>
              <a:ext cx="46038" cy="390525"/>
            </a:xfrm>
            <a:custGeom>
              <a:avLst/>
              <a:gdLst/>
              <a:ahLst/>
              <a:cxnLst>
                <a:cxn ang="0">
                  <a:pos x="29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29" y="0"/>
                </a:cxn>
                <a:cxn ang="0">
                  <a:pos x="29" y="35"/>
                </a:cxn>
                <a:cxn ang="0">
                  <a:pos x="0" y="69"/>
                </a:cxn>
                <a:cxn ang="0">
                  <a:pos x="29" y="69"/>
                </a:cxn>
                <a:cxn ang="0">
                  <a:pos x="29" y="246"/>
                </a:cxn>
                <a:cxn ang="0">
                  <a:pos x="0" y="246"/>
                </a:cxn>
                <a:cxn ang="0">
                  <a:pos x="0" y="69"/>
                </a:cxn>
              </a:cxnLst>
              <a:rect l="0" t="0" r="r" b="b"/>
              <a:pathLst>
                <a:path w="29" h="246">
                  <a:moveTo>
                    <a:pt x="29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35"/>
                  </a:lnTo>
                  <a:close/>
                  <a:moveTo>
                    <a:pt x="0" y="69"/>
                  </a:moveTo>
                  <a:lnTo>
                    <a:pt x="29" y="69"/>
                  </a:lnTo>
                  <a:lnTo>
                    <a:pt x="29" y="246"/>
                  </a:lnTo>
                  <a:lnTo>
                    <a:pt x="0" y="246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26"/>
            <p:cNvSpPr>
              <a:spLocks/>
            </p:cNvSpPr>
            <p:nvPr/>
          </p:nvSpPr>
          <p:spPr bwMode="gray">
            <a:xfrm>
              <a:off x="6396038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29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0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2" y="81"/>
                </a:cxn>
                <a:cxn ang="0">
                  <a:pos x="12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2" y="23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5" y="85"/>
                    <a:pt x="26" y="85"/>
                    <a:pt x="27" y="86"/>
                  </a:cubicBezTo>
                  <a:cubicBezTo>
                    <a:pt x="27" y="86"/>
                    <a:pt x="28" y="86"/>
                    <a:pt x="29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27" y="98"/>
                    <a:pt x="24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2" y="85"/>
                    <a:pt x="12" y="81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gray">
            <a:xfrm>
              <a:off x="6594475" y="4627563"/>
              <a:ext cx="393700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2" y="2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36" y="0"/>
                </a:cxn>
                <a:cxn ang="0">
                  <a:pos x="49" y="3"/>
                </a:cxn>
                <a:cxn ang="0">
                  <a:pos x="57" y="13"/>
                </a:cxn>
                <a:cxn ang="0">
                  <a:pos x="67" y="3"/>
                </a:cxn>
                <a:cxn ang="0">
                  <a:pos x="80" y="0"/>
                </a:cxn>
                <a:cxn ang="0">
                  <a:pos x="90" y="1"/>
                </a:cxn>
                <a:cxn ang="0">
                  <a:pos x="98" y="5"/>
                </a:cxn>
                <a:cxn ang="0">
                  <a:pos x="103" y="12"/>
                </a:cxn>
                <a:cxn ang="0">
                  <a:pos x="105" y="22"/>
                </a:cxn>
                <a:cxn ang="0">
                  <a:pos x="105" y="77"/>
                </a:cxn>
                <a:cxn ang="0">
                  <a:pos x="93" y="77"/>
                </a:cxn>
                <a:cxn ang="0">
                  <a:pos x="93" y="27"/>
                </a:cxn>
                <a:cxn ang="0">
                  <a:pos x="92" y="21"/>
                </a:cxn>
                <a:cxn ang="0">
                  <a:pos x="90" y="16"/>
                </a:cxn>
                <a:cxn ang="0">
                  <a:pos x="86" y="12"/>
                </a:cxn>
                <a:cxn ang="0">
                  <a:pos x="78" y="11"/>
                </a:cxn>
                <a:cxn ang="0">
                  <a:pos x="64" y="16"/>
                </a:cxn>
                <a:cxn ang="0">
                  <a:pos x="59" y="30"/>
                </a:cxn>
                <a:cxn ang="0">
                  <a:pos x="59" y="77"/>
                </a:cxn>
                <a:cxn ang="0">
                  <a:pos x="46" y="77"/>
                </a:cxn>
                <a:cxn ang="0">
                  <a:pos x="46" y="27"/>
                </a:cxn>
                <a:cxn ang="0">
                  <a:pos x="46" y="21"/>
                </a:cxn>
                <a:cxn ang="0">
                  <a:pos x="43" y="15"/>
                </a:cxn>
                <a:cxn ang="0">
                  <a:pos x="39" y="12"/>
                </a:cxn>
                <a:cxn ang="0">
                  <a:pos x="32" y="11"/>
                </a:cxn>
                <a:cxn ang="0">
                  <a:pos x="23" y="13"/>
                </a:cxn>
                <a:cxn ang="0">
                  <a:pos x="17" y="18"/>
                </a:cxn>
                <a:cxn ang="0">
                  <a:pos x="13" y="25"/>
                </a:cxn>
                <a:cxn ang="0">
                  <a:pos x="12" y="30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105" h="77">
                  <a:moveTo>
                    <a:pt x="0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1" y="0"/>
                    <a:pt x="45" y="1"/>
                    <a:pt x="49" y="3"/>
                  </a:cubicBezTo>
                  <a:cubicBezTo>
                    <a:pt x="52" y="5"/>
                    <a:pt x="55" y="8"/>
                    <a:pt x="57" y="13"/>
                  </a:cubicBezTo>
                  <a:cubicBezTo>
                    <a:pt x="59" y="9"/>
                    <a:pt x="63" y="5"/>
                    <a:pt x="67" y="3"/>
                  </a:cubicBezTo>
                  <a:cubicBezTo>
                    <a:pt x="71" y="1"/>
                    <a:pt x="75" y="0"/>
                    <a:pt x="80" y="0"/>
                  </a:cubicBezTo>
                  <a:cubicBezTo>
                    <a:pt x="84" y="0"/>
                    <a:pt x="87" y="0"/>
                    <a:pt x="90" y="1"/>
                  </a:cubicBezTo>
                  <a:cubicBezTo>
                    <a:pt x="94" y="2"/>
                    <a:pt x="96" y="3"/>
                    <a:pt x="98" y="5"/>
                  </a:cubicBezTo>
                  <a:cubicBezTo>
                    <a:pt x="101" y="7"/>
                    <a:pt x="102" y="9"/>
                    <a:pt x="103" y="12"/>
                  </a:cubicBezTo>
                  <a:cubicBezTo>
                    <a:pt x="105" y="14"/>
                    <a:pt x="105" y="18"/>
                    <a:pt x="105" y="22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5"/>
                    <a:pt x="93" y="23"/>
                    <a:pt x="92" y="21"/>
                  </a:cubicBezTo>
                  <a:cubicBezTo>
                    <a:pt x="92" y="19"/>
                    <a:pt x="91" y="17"/>
                    <a:pt x="90" y="16"/>
                  </a:cubicBezTo>
                  <a:cubicBezTo>
                    <a:pt x="89" y="14"/>
                    <a:pt x="88" y="13"/>
                    <a:pt x="86" y="12"/>
                  </a:cubicBezTo>
                  <a:cubicBezTo>
                    <a:pt x="84" y="11"/>
                    <a:pt x="81" y="11"/>
                    <a:pt x="78" y="11"/>
                  </a:cubicBezTo>
                  <a:cubicBezTo>
                    <a:pt x="72" y="11"/>
                    <a:pt x="68" y="13"/>
                    <a:pt x="64" y="16"/>
                  </a:cubicBezTo>
                  <a:cubicBezTo>
                    <a:pt x="61" y="19"/>
                    <a:pt x="59" y="24"/>
                    <a:pt x="59" y="30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5"/>
                    <a:pt x="46" y="23"/>
                    <a:pt x="46" y="21"/>
                  </a:cubicBezTo>
                  <a:cubicBezTo>
                    <a:pt x="45" y="19"/>
                    <a:pt x="45" y="17"/>
                    <a:pt x="43" y="15"/>
                  </a:cubicBezTo>
                  <a:cubicBezTo>
                    <a:pt x="42" y="14"/>
                    <a:pt x="41" y="13"/>
                    <a:pt x="39" y="12"/>
                  </a:cubicBezTo>
                  <a:cubicBezTo>
                    <a:pt x="37" y="11"/>
                    <a:pt x="35" y="11"/>
                    <a:pt x="32" y="11"/>
                  </a:cubicBezTo>
                  <a:cubicBezTo>
                    <a:pt x="29" y="11"/>
                    <a:pt x="26" y="11"/>
                    <a:pt x="23" y="13"/>
                  </a:cubicBezTo>
                  <a:cubicBezTo>
                    <a:pt x="20" y="14"/>
                    <a:pt x="18" y="16"/>
                    <a:pt x="17" y="18"/>
                  </a:cubicBezTo>
                  <a:cubicBezTo>
                    <a:pt x="15" y="20"/>
                    <a:pt x="14" y="22"/>
                    <a:pt x="13" y="25"/>
                  </a:cubicBezTo>
                  <a:cubicBezTo>
                    <a:pt x="13" y="27"/>
                    <a:pt x="12" y="28"/>
                    <a:pt x="12" y="30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28"/>
            <p:cNvSpPr>
              <a:spLocks noEditPoints="1"/>
            </p:cNvSpPr>
            <p:nvPr/>
          </p:nvSpPr>
          <p:spPr bwMode="gray">
            <a:xfrm>
              <a:off x="7040563" y="4627563"/>
              <a:ext cx="263525" cy="293688"/>
            </a:xfrm>
            <a:custGeom>
              <a:avLst/>
              <a:gdLst/>
              <a:ahLst/>
              <a:cxnLst>
                <a:cxn ang="0">
                  <a:pos x="68" y="53"/>
                </a:cxn>
                <a:cxn ang="0">
                  <a:pos x="57" y="72"/>
                </a:cxn>
                <a:cxn ang="0">
                  <a:pos x="36" y="78"/>
                </a:cxn>
                <a:cxn ang="0">
                  <a:pos x="21" y="76"/>
                </a:cxn>
                <a:cxn ang="0">
                  <a:pos x="9" y="67"/>
                </a:cxn>
                <a:cxn ang="0">
                  <a:pos x="3" y="55"/>
                </a:cxn>
                <a:cxn ang="0">
                  <a:pos x="0" y="39"/>
                </a:cxn>
                <a:cxn ang="0">
                  <a:pos x="3" y="23"/>
                </a:cxn>
                <a:cxn ang="0">
                  <a:pos x="10" y="11"/>
                </a:cxn>
                <a:cxn ang="0">
                  <a:pos x="21" y="3"/>
                </a:cxn>
                <a:cxn ang="0">
                  <a:pos x="36" y="0"/>
                </a:cxn>
                <a:cxn ang="0">
                  <a:pos x="52" y="4"/>
                </a:cxn>
                <a:cxn ang="0">
                  <a:pos x="63" y="15"/>
                </a:cxn>
                <a:cxn ang="0">
                  <a:pos x="68" y="28"/>
                </a:cxn>
                <a:cxn ang="0">
                  <a:pos x="70" y="43"/>
                </a:cxn>
                <a:cxn ang="0">
                  <a:pos x="13" y="43"/>
                </a:cxn>
                <a:cxn ang="0">
                  <a:pos x="14" y="52"/>
                </a:cxn>
                <a:cxn ang="0">
                  <a:pos x="19" y="60"/>
                </a:cxn>
                <a:cxn ang="0">
                  <a:pos x="26" y="66"/>
                </a:cxn>
                <a:cxn ang="0">
                  <a:pos x="37" y="68"/>
                </a:cxn>
                <a:cxn ang="0">
                  <a:pos x="49" y="64"/>
                </a:cxn>
                <a:cxn ang="0">
                  <a:pos x="56" y="53"/>
                </a:cxn>
                <a:cxn ang="0">
                  <a:pos x="68" y="53"/>
                </a:cxn>
                <a:cxn ang="0">
                  <a:pos x="56" y="32"/>
                </a:cxn>
                <a:cxn ang="0">
                  <a:pos x="54" y="24"/>
                </a:cxn>
                <a:cxn ang="0">
                  <a:pos x="50" y="17"/>
                </a:cxn>
                <a:cxn ang="0">
                  <a:pos x="43" y="12"/>
                </a:cxn>
                <a:cxn ang="0">
                  <a:pos x="35" y="11"/>
                </a:cxn>
                <a:cxn ang="0">
                  <a:pos x="26" y="12"/>
                </a:cxn>
                <a:cxn ang="0">
                  <a:pos x="20" y="17"/>
                </a:cxn>
                <a:cxn ang="0">
                  <a:pos x="15" y="24"/>
                </a:cxn>
                <a:cxn ang="0">
                  <a:pos x="13" y="32"/>
                </a:cxn>
                <a:cxn ang="0">
                  <a:pos x="56" y="32"/>
                </a:cxn>
              </a:cxnLst>
              <a:rect l="0" t="0" r="r" b="b"/>
              <a:pathLst>
                <a:path w="70" h="78">
                  <a:moveTo>
                    <a:pt x="68" y="53"/>
                  </a:moveTo>
                  <a:cubicBezTo>
                    <a:pt x="67" y="61"/>
                    <a:pt x="63" y="68"/>
                    <a:pt x="57" y="72"/>
                  </a:cubicBezTo>
                  <a:cubicBezTo>
                    <a:pt x="52" y="76"/>
                    <a:pt x="45" y="78"/>
                    <a:pt x="36" y="78"/>
                  </a:cubicBezTo>
                  <a:cubicBezTo>
                    <a:pt x="30" y="78"/>
                    <a:pt x="25" y="77"/>
                    <a:pt x="21" y="76"/>
                  </a:cubicBezTo>
                  <a:cubicBezTo>
                    <a:pt x="16" y="74"/>
                    <a:pt x="12" y="71"/>
                    <a:pt x="9" y="67"/>
                  </a:cubicBezTo>
                  <a:cubicBezTo>
                    <a:pt x="6" y="64"/>
                    <a:pt x="4" y="60"/>
                    <a:pt x="3" y="55"/>
                  </a:cubicBezTo>
                  <a:cubicBezTo>
                    <a:pt x="1" y="50"/>
                    <a:pt x="0" y="45"/>
                    <a:pt x="0" y="39"/>
                  </a:cubicBezTo>
                  <a:cubicBezTo>
                    <a:pt x="0" y="33"/>
                    <a:pt x="1" y="28"/>
                    <a:pt x="3" y="23"/>
                  </a:cubicBezTo>
                  <a:cubicBezTo>
                    <a:pt x="5" y="19"/>
                    <a:pt x="7" y="14"/>
                    <a:pt x="10" y="11"/>
                  </a:cubicBezTo>
                  <a:cubicBezTo>
                    <a:pt x="13" y="7"/>
                    <a:pt x="17" y="5"/>
                    <a:pt x="21" y="3"/>
                  </a:cubicBezTo>
                  <a:cubicBezTo>
                    <a:pt x="26" y="1"/>
                    <a:pt x="30" y="0"/>
                    <a:pt x="36" y="0"/>
                  </a:cubicBezTo>
                  <a:cubicBezTo>
                    <a:pt x="42" y="0"/>
                    <a:pt x="48" y="1"/>
                    <a:pt x="52" y="4"/>
                  </a:cubicBezTo>
                  <a:cubicBezTo>
                    <a:pt x="57" y="7"/>
                    <a:pt x="60" y="10"/>
                    <a:pt x="63" y="15"/>
                  </a:cubicBezTo>
                  <a:cubicBezTo>
                    <a:pt x="65" y="19"/>
                    <a:pt x="67" y="23"/>
                    <a:pt x="68" y="28"/>
                  </a:cubicBezTo>
                  <a:cubicBezTo>
                    <a:pt x="69" y="34"/>
                    <a:pt x="70" y="38"/>
                    <a:pt x="70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6"/>
                    <a:pt x="14" y="49"/>
                    <a:pt x="14" y="52"/>
                  </a:cubicBezTo>
                  <a:cubicBezTo>
                    <a:pt x="15" y="55"/>
                    <a:pt x="17" y="58"/>
                    <a:pt x="19" y="60"/>
                  </a:cubicBezTo>
                  <a:cubicBezTo>
                    <a:pt x="21" y="62"/>
                    <a:pt x="23" y="64"/>
                    <a:pt x="26" y="66"/>
                  </a:cubicBezTo>
                  <a:cubicBezTo>
                    <a:pt x="29" y="67"/>
                    <a:pt x="33" y="68"/>
                    <a:pt x="37" y="68"/>
                  </a:cubicBezTo>
                  <a:cubicBezTo>
                    <a:pt x="42" y="68"/>
                    <a:pt x="46" y="66"/>
                    <a:pt x="49" y="64"/>
                  </a:cubicBezTo>
                  <a:cubicBezTo>
                    <a:pt x="53" y="62"/>
                    <a:pt x="55" y="58"/>
                    <a:pt x="56" y="53"/>
                  </a:cubicBezTo>
                  <a:lnTo>
                    <a:pt x="68" y="53"/>
                  </a:lnTo>
                  <a:close/>
                  <a:moveTo>
                    <a:pt x="56" y="32"/>
                  </a:moveTo>
                  <a:cubicBezTo>
                    <a:pt x="56" y="29"/>
                    <a:pt x="56" y="26"/>
                    <a:pt x="54" y="24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8" y="15"/>
                    <a:pt x="46" y="14"/>
                    <a:pt x="43" y="12"/>
                  </a:cubicBezTo>
                  <a:cubicBezTo>
                    <a:pt x="41" y="11"/>
                    <a:pt x="38" y="11"/>
                    <a:pt x="35" y="11"/>
                  </a:cubicBezTo>
                  <a:cubicBezTo>
                    <a:pt x="32" y="11"/>
                    <a:pt x="29" y="11"/>
                    <a:pt x="26" y="12"/>
                  </a:cubicBezTo>
                  <a:cubicBezTo>
                    <a:pt x="24" y="14"/>
                    <a:pt x="21" y="15"/>
                    <a:pt x="20" y="17"/>
                  </a:cubicBezTo>
                  <a:cubicBezTo>
                    <a:pt x="18" y="19"/>
                    <a:pt x="16" y="21"/>
                    <a:pt x="15" y="24"/>
                  </a:cubicBezTo>
                  <a:cubicBezTo>
                    <a:pt x="14" y="26"/>
                    <a:pt x="13" y="29"/>
                    <a:pt x="13" y="32"/>
                  </a:cubicBezTo>
                  <a:lnTo>
                    <a:pt x="56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gray">
            <a:xfrm>
              <a:off x="7348538" y="4627563"/>
              <a:ext cx="233363" cy="2889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1" y="14"/>
                </a:cxn>
                <a:cxn ang="0">
                  <a:pos x="12" y="14"/>
                </a:cxn>
                <a:cxn ang="0">
                  <a:pos x="22" y="3"/>
                </a:cxn>
                <a:cxn ang="0">
                  <a:pos x="36" y="0"/>
                </a:cxn>
                <a:cxn ang="0">
                  <a:pos x="48" y="2"/>
                </a:cxn>
                <a:cxn ang="0">
                  <a:pos x="56" y="8"/>
                </a:cxn>
                <a:cxn ang="0">
                  <a:pos x="61" y="16"/>
                </a:cxn>
                <a:cxn ang="0">
                  <a:pos x="62" y="27"/>
                </a:cxn>
                <a:cxn ang="0">
                  <a:pos x="62" y="77"/>
                </a:cxn>
                <a:cxn ang="0">
                  <a:pos x="50" y="77"/>
                </a:cxn>
                <a:cxn ang="0">
                  <a:pos x="50" y="26"/>
                </a:cxn>
                <a:cxn ang="0">
                  <a:pos x="45" y="15"/>
                </a:cxn>
                <a:cxn ang="0">
                  <a:pos x="34" y="11"/>
                </a:cxn>
                <a:cxn ang="0">
                  <a:pos x="24" y="13"/>
                </a:cxn>
                <a:cxn ang="0">
                  <a:pos x="18" y="17"/>
                </a:cxn>
                <a:cxn ang="0">
                  <a:pos x="13" y="25"/>
                </a:cxn>
                <a:cxn ang="0">
                  <a:pos x="12" y="34"/>
                </a:cxn>
                <a:cxn ang="0">
                  <a:pos x="12" y="77"/>
                </a:cxn>
                <a:cxn ang="0">
                  <a:pos x="0" y="77"/>
                </a:cxn>
                <a:cxn ang="0">
                  <a:pos x="0" y="2"/>
                </a:cxn>
              </a:cxnLst>
              <a:rect l="0" t="0" r="r" b="b"/>
              <a:pathLst>
                <a:path w="62" h="77">
                  <a:moveTo>
                    <a:pt x="0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4" y="9"/>
                    <a:pt x="18" y="5"/>
                    <a:pt x="22" y="3"/>
                  </a:cubicBezTo>
                  <a:cubicBezTo>
                    <a:pt x="26" y="1"/>
                    <a:pt x="31" y="0"/>
                    <a:pt x="36" y="0"/>
                  </a:cubicBezTo>
                  <a:cubicBezTo>
                    <a:pt x="41" y="0"/>
                    <a:pt x="45" y="1"/>
                    <a:pt x="48" y="2"/>
                  </a:cubicBezTo>
                  <a:cubicBezTo>
                    <a:pt x="52" y="3"/>
                    <a:pt x="54" y="5"/>
                    <a:pt x="56" y="8"/>
                  </a:cubicBezTo>
                  <a:cubicBezTo>
                    <a:pt x="58" y="10"/>
                    <a:pt x="60" y="13"/>
                    <a:pt x="61" y="16"/>
                  </a:cubicBezTo>
                  <a:cubicBezTo>
                    <a:pt x="61" y="20"/>
                    <a:pt x="62" y="23"/>
                    <a:pt x="62" y="27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1"/>
                    <a:pt x="48" y="18"/>
                    <a:pt x="45" y="15"/>
                  </a:cubicBezTo>
                  <a:cubicBezTo>
                    <a:pt x="43" y="12"/>
                    <a:pt x="39" y="11"/>
                    <a:pt x="34" y="11"/>
                  </a:cubicBezTo>
                  <a:cubicBezTo>
                    <a:pt x="31" y="11"/>
                    <a:pt x="27" y="11"/>
                    <a:pt x="24" y="13"/>
                  </a:cubicBezTo>
                  <a:cubicBezTo>
                    <a:pt x="22" y="14"/>
                    <a:pt x="19" y="15"/>
                    <a:pt x="18" y="17"/>
                  </a:cubicBezTo>
                  <a:cubicBezTo>
                    <a:pt x="16" y="20"/>
                    <a:pt x="14" y="22"/>
                    <a:pt x="13" y="25"/>
                  </a:cubicBezTo>
                  <a:cubicBezTo>
                    <a:pt x="13" y="28"/>
                    <a:pt x="12" y="31"/>
                    <a:pt x="12" y="34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gray">
            <a:xfrm>
              <a:off x="7620000" y="4548188"/>
              <a:ext cx="149225" cy="36830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40" y="23"/>
                </a:cxn>
                <a:cxn ang="0">
                  <a:pos x="40" y="34"/>
                </a:cxn>
                <a:cxn ang="0">
                  <a:pos x="25" y="34"/>
                </a:cxn>
                <a:cxn ang="0">
                  <a:pos x="25" y="80"/>
                </a:cxn>
                <a:cxn ang="0">
                  <a:pos x="25" y="84"/>
                </a:cxn>
                <a:cxn ang="0">
                  <a:pos x="27" y="86"/>
                </a:cxn>
                <a:cxn ang="0">
                  <a:pos x="30" y="87"/>
                </a:cxn>
                <a:cxn ang="0">
                  <a:pos x="34" y="87"/>
                </a:cxn>
                <a:cxn ang="0">
                  <a:pos x="40" y="87"/>
                </a:cxn>
                <a:cxn ang="0">
                  <a:pos x="40" y="98"/>
                </a:cxn>
                <a:cxn ang="0">
                  <a:pos x="31" y="98"/>
                </a:cxn>
                <a:cxn ang="0">
                  <a:pos x="22" y="97"/>
                </a:cxn>
                <a:cxn ang="0">
                  <a:pos x="17" y="95"/>
                </a:cxn>
                <a:cxn ang="0">
                  <a:pos x="14" y="90"/>
                </a:cxn>
                <a:cxn ang="0">
                  <a:pos x="13" y="81"/>
                </a:cxn>
                <a:cxn ang="0">
                  <a:pos x="13" y="34"/>
                </a:cxn>
                <a:cxn ang="0">
                  <a:pos x="0" y="34"/>
                </a:cxn>
                <a:cxn ang="0">
                  <a:pos x="0" y="23"/>
                </a:cxn>
                <a:cxn ang="0">
                  <a:pos x="13" y="23"/>
                </a:cxn>
                <a:cxn ang="0">
                  <a:pos x="13" y="0"/>
                </a:cxn>
                <a:cxn ang="0">
                  <a:pos x="25" y="0"/>
                </a:cxn>
                <a:cxn ang="0">
                  <a:pos x="25" y="23"/>
                </a:cxn>
              </a:cxnLst>
              <a:rect l="0" t="0" r="r" b="b"/>
              <a:pathLst>
                <a:path w="40" h="98">
                  <a:moveTo>
                    <a:pt x="25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2"/>
                    <a:pt x="25" y="83"/>
                    <a:pt x="25" y="84"/>
                  </a:cubicBezTo>
                  <a:cubicBezTo>
                    <a:pt x="26" y="85"/>
                    <a:pt x="26" y="85"/>
                    <a:pt x="27" y="86"/>
                  </a:cubicBezTo>
                  <a:cubicBezTo>
                    <a:pt x="27" y="86"/>
                    <a:pt x="28" y="86"/>
                    <a:pt x="30" y="87"/>
                  </a:cubicBezTo>
                  <a:cubicBezTo>
                    <a:pt x="31" y="87"/>
                    <a:pt x="32" y="87"/>
                    <a:pt x="34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7" y="98"/>
                    <a:pt x="25" y="98"/>
                    <a:pt x="22" y="97"/>
                  </a:cubicBezTo>
                  <a:cubicBezTo>
                    <a:pt x="20" y="97"/>
                    <a:pt x="18" y="96"/>
                    <a:pt x="17" y="95"/>
                  </a:cubicBezTo>
                  <a:cubicBezTo>
                    <a:pt x="15" y="94"/>
                    <a:pt x="14" y="92"/>
                    <a:pt x="14" y="90"/>
                  </a:cubicBezTo>
                  <a:cubicBezTo>
                    <a:pt x="13" y="88"/>
                    <a:pt x="13" y="85"/>
                    <a:pt x="13" y="81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5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31"/>
            <p:cNvSpPr>
              <a:spLocks noEditPoints="1"/>
            </p:cNvSpPr>
            <p:nvPr/>
          </p:nvSpPr>
          <p:spPr bwMode="gray">
            <a:xfrm>
              <a:off x="7796213" y="4484688"/>
              <a:ext cx="315913" cy="315913"/>
            </a:xfrm>
            <a:custGeom>
              <a:avLst/>
              <a:gdLst/>
              <a:ahLst/>
              <a:cxnLst>
                <a:cxn ang="0">
                  <a:pos x="3" y="25"/>
                </a:cxn>
                <a:cxn ang="0">
                  <a:pos x="12" y="12"/>
                </a:cxn>
                <a:cxn ang="0">
                  <a:pos x="26" y="3"/>
                </a:cxn>
                <a:cxn ang="0">
                  <a:pos x="42" y="0"/>
                </a:cxn>
                <a:cxn ang="0">
                  <a:pos x="58" y="3"/>
                </a:cxn>
                <a:cxn ang="0">
                  <a:pos x="72" y="12"/>
                </a:cxn>
                <a:cxn ang="0">
                  <a:pos x="81" y="25"/>
                </a:cxn>
                <a:cxn ang="0">
                  <a:pos x="84" y="42"/>
                </a:cxn>
                <a:cxn ang="0">
                  <a:pos x="81" y="59"/>
                </a:cxn>
                <a:cxn ang="0">
                  <a:pos x="72" y="72"/>
                </a:cxn>
                <a:cxn ang="0">
                  <a:pos x="58" y="81"/>
                </a:cxn>
                <a:cxn ang="0">
                  <a:pos x="42" y="84"/>
                </a:cxn>
                <a:cxn ang="0">
                  <a:pos x="26" y="81"/>
                </a:cxn>
                <a:cxn ang="0">
                  <a:pos x="12" y="72"/>
                </a:cxn>
                <a:cxn ang="0">
                  <a:pos x="3" y="59"/>
                </a:cxn>
                <a:cxn ang="0">
                  <a:pos x="0" y="42"/>
                </a:cxn>
                <a:cxn ang="0">
                  <a:pos x="3" y="25"/>
                </a:cxn>
                <a:cxn ang="0">
                  <a:pos x="10" y="56"/>
                </a:cxn>
                <a:cxn ang="0">
                  <a:pos x="17" y="68"/>
                </a:cxn>
                <a:cxn ang="0">
                  <a:pos x="28" y="75"/>
                </a:cxn>
                <a:cxn ang="0">
                  <a:pos x="42" y="78"/>
                </a:cxn>
                <a:cxn ang="0">
                  <a:pos x="56" y="75"/>
                </a:cxn>
                <a:cxn ang="0">
                  <a:pos x="67" y="68"/>
                </a:cxn>
                <a:cxn ang="0">
                  <a:pos x="74" y="56"/>
                </a:cxn>
                <a:cxn ang="0">
                  <a:pos x="77" y="42"/>
                </a:cxn>
                <a:cxn ang="0">
                  <a:pos x="74" y="28"/>
                </a:cxn>
                <a:cxn ang="0">
                  <a:pos x="67" y="16"/>
                </a:cxn>
                <a:cxn ang="0">
                  <a:pos x="56" y="9"/>
                </a:cxn>
                <a:cxn ang="0">
                  <a:pos x="42" y="6"/>
                </a:cxn>
                <a:cxn ang="0">
                  <a:pos x="28" y="9"/>
                </a:cxn>
                <a:cxn ang="0">
                  <a:pos x="17" y="16"/>
                </a:cxn>
                <a:cxn ang="0">
                  <a:pos x="10" y="28"/>
                </a:cxn>
                <a:cxn ang="0">
                  <a:pos x="7" y="42"/>
                </a:cxn>
                <a:cxn ang="0">
                  <a:pos x="10" y="56"/>
                </a:cxn>
                <a:cxn ang="0">
                  <a:pos x="26" y="17"/>
                </a:cxn>
                <a:cxn ang="0">
                  <a:pos x="45" y="17"/>
                </a:cxn>
                <a:cxn ang="0">
                  <a:pos x="58" y="21"/>
                </a:cxn>
                <a:cxn ang="0">
                  <a:pos x="62" y="32"/>
                </a:cxn>
                <a:cxn ang="0">
                  <a:pos x="58" y="41"/>
                </a:cxn>
                <a:cxn ang="0">
                  <a:pos x="49" y="45"/>
                </a:cxn>
                <a:cxn ang="0">
                  <a:pos x="63" y="67"/>
                </a:cxn>
                <a:cxn ang="0">
                  <a:pos x="55" y="67"/>
                </a:cxn>
                <a:cxn ang="0">
                  <a:pos x="41" y="46"/>
                </a:cxn>
                <a:cxn ang="0">
                  <a:pos x="33" y="46"/>
                </a:cxn>
                <a:cxn ang="0">
                  <a:pos x="33" y="67"/>
                </a:cxn>
                <a:cxn ang="0">
                  <a:pos x="26" y="67"/>
                </a:cxn>
                <a:cxn ang="0">
                  <a:pos x="26" y="17"/>
                </a:cxn>
                <a:cxn ang="0">
                  <a:pos x="33" y="39"/>
                </a:cxn>
                <a:cxn ang="0">
                  <a:pos x="41" y="39"/>
                </a:cxn>
                <a:cxn ang="0">
                  <a:pos x="46" y="39"/>
                </a:cxn>
                <a:cxn ang="0">
                  <a:pos x="50" y="38"/>
                </a:cxn>
                <a:cxn ang="0">
                  <a:pos x="53" y="36"/>
                </a:cxn>
                <a:cxn ang="0">
                  <a:pos x="54" y="31"/>
                </a:cxn>
                <a:cxn ang="0">
                  <a:pos x="53" y="27"/>
                </a:cxn>
                <a:cxn ang="0">
                  <a:pos x="51" y="25"/>
                </a:cxn>
                <a:cxn ang="0">
                  <a:pos x="47" y="24"/>
                </a:cxn>
                <a:cxn ang="0">
                  <a:pos x="43" y="24"/>
                </a:cxn>
                <a:cxn ang="0">
                  <a:pos x="33" y="24"/>
                </a:cxn>
                <a:cxn ang="0">
                  <a:pos x="33" y="39"/>
                </a:cxn>
              </a:cxnLst>
              <a:rect l="0" t="0" r="r" b="b"/>
              <a:pathLst>
                <a:path w="84" h="84">
                  <a:moveTo>
                    <a:pt x="3" y="25"/>
                  </a:moveTo>
                  <a:cubicBezTo>
                    <a:pt x="5" y="20"/>
                    <a:pt x="8" y="16"/>
                    <a:pt x="12" y="12"/>
                  </a:cubicBezTo>
                  <a:cubicBezTo>
                    <a:pt x="16" y="8"/>
                    <a:pt x="21" y="5"/>
                    <a:pt x="26" y="3"/>
                  </a:cubicBezTo>
                  <a:cubicBezTo>
                    <a:pt x="31" y="1"/>
                    <a:pt x="36" y="0"/>
                    <a:pt x="42" y="0"/>
                  </a:cubicBezTo>
                  <a:cubicBezTo>
                    <a:pt x="48" y="0"/>
                    <a:pt x="53" y="1"/>
                    <a:pt x="58" y="3"/>
                  </a:cubicBezTo>
                  <a:cubicBezTo>
                    <a:pt x="64" y="5"/>
                    <a:pt x="68" y="8"/>
                    <a:pt x="72" y="12"/>
                  </a:cubicBezTo>
                  <a:cubicBezTo>
                    <a:pt x="76" y="16"/>
                    <a:pt x="79" y="20"/>
                    <a:pt x="81" y="25"/>
                  </a:cubicBezTo>
                  <a:cubicBezTo>
                    <a:pt x="83" y="30"/>
                    <a:pt x="84" y="36"/>
                    <a:pt x="84" y="42"/>
                  </a:cubicBezTo>
                  <a:cubicBezTo>
                    <a:pt x="84" y="48"/>
                    <a:pt x="83" y="54"/>
                    <a:pt x="81" y="59"/>
                  </a:cubicBezTo>
                  <a:cubicBezTo>
                    <a:pt x="79" y="64"/>
                    <a:pt x="76" y="68"/>
                    <a:pt x="72" y="72"/>
                  </a:cubicBezTo>
                  <a:cubicBezTo>
                    <a:pt x="68" y="76"/>
                    <a:pt x="64" y="79"/>
                    <a:pt x="58" y="81"/>
                  </a:cubicBezTo>
                  <a:cubicBezTo>
                    <a:pt x="53" y="83"/>
                    <a:pt x="48" y="84"/>
                    <a:pt x="42" y="84"/>
                  </a:cubicBezTo>
                  <a:cubicBezTo>
                    <a:pt x="36" y="84"/>
                    <a:pt x="31" y="83"/>
                    <a:pt x="26" y="81"/>
                  </a:cubicBezTo>
                  <a:cubicBezTo>
                    <a:pt x="21" y="79"/>
                    <a:pt x="16" y="76"/>
                    <a:pt x="12" y="72"/>
                  </a:cubicBezTo>
                  <a:cubicBezTo>
                    <a:pt x="8" y="68"/>
                    <a:pt x="5" y="64"/>
                    <a:pt x="3" y="59"/>
                  </a:cubicBezTo>
                  <a:cubicBezTo>
                    <a:pt x="1" y="54"/>
                    <a:pt x="0" y="48"/>
                    <a:pt x="0" y="42"/>
                  </a:cubicBezTo>
                  <a:cubicBezTo>
                    <a:pt x="0" y="36"/>
                    <a:pt x="1" y="30"/>
                    <a:pt x="3" y="25"/>
                  </a:cubicBezTo>
                  <a:close/>
                  <a:moveTo>
                    <a:pt x="10" y="56"/>
                  </a:moveTo>
                  <a:cubicBezTo>
                    <a:pt x="12" y="61"/>
                    <a:pt x="14" y="65"/>
                    <a:pt x="17" y="68"/>
                  </a:cubicBezTo>
                  <a:cubicBezTo>
                    <a:pt x="20" y="71"/>
                    <a:pt x="24" y="74"/>
                    <a:pt x="28" y="75"/>
                  </a:cubicBezTo>
                  <a:cubicBezTo>
                    <a:pt x="33" y="77"/>
                    <a:pt x="37" y="78"/>
                    <a:pt x="42" y="78"/>
                  </a:cubicBezTo>
                  <a:cubicBezTo>
                    <a:pt x="47" y="78"/>
                    <a:pt x="52" y="77"/>
                    <a:pt x="56" y="75"/>
                  </a:cubicBezTo>
                  <a:cubicBezTo>
                    <a:pt x="60" y="74"/>
                    <a:pt x="64" y="71"/>
                    <a:pt x="67" y="68"/>
                  </a:cubicBezTo>
                  <a:cubicBezTo>
                    <a:pt x="70" y="65"/>
                    <a:pt x="72" y="61"/>
                    <a:pt x="74" y="56"/>
                  </a:cubicBezTo>
                  <a:cubicBezTo>
                    <a:pt x="76" y="52"/>
                    <a:pt x="77" y="47"/>
                    <a:pt x="77" y="42"/>
                  </a:cubicBezTo>
                  <a:cubicBezTo>
                    <a:pt x="77" y="37"/>
                    <a:pt x="76" y="32"/>
                    <a:pt x="74" y="28"/>
                  </a:cubicBezTo>
                  <a:cubicBezTo>
                    <a:pt x="72" y="23"/>
                    <a:pt x="70" y="20"/>
                    <a:pt x="67" y="16"/>
                  </a:cubicBezTo>
                  <a:cubicBezTo>
                    <a:pt x="64" y="13"/>
                    <a:pt x="60" y="11"/>
                    <a:pt x="56" y="9"/>
                  </a:cubicBezTo>
                  <a:cubicBezTo>
                    <a:pt x="52" y="7"/>
                    <a:pt x="47" y="6"/>
                    <a:pt x="42" y="6"/>
                  </a:cubicBezTo>
                  <a:cubicBezTo>
                    <a:pt x="37" y="6"/>
                    <a:pt x="33" y="7"/>
                    <a:pt x="28" y="9"/>
                  </a:cubicBezTo>
                  <a:cubicBezTo>
                    <a:pt x="24" y="11"/>
                    <a:pt x="20" y="13"/>
                    <a:pt x="17" y="16"/>
                  </a:cubicBezTo>
                  <a:cubicBezTo>
                    <a:pt x="14" y="20"/>
                    <a:pt x="12" y="23"/>
                    <a:pt x="10" y="28"/>
                  </a:cubicBezTo>
                  <a:cubicBezTo>
                    <a:pt x="8" y="32"/>
                    <a:pt x="7" y="37"/>
                    <a:pt x="7" y="42"/>
                  </a:cubicBezTo>
                  <a:cubicBezTo>
                    <a:pt x="7" y="47"/>
                    <a:pt x="8" y="52"/>
                    <a:pt x="10" y="56"/>
                  </a:cubicBezTo>
                  <a:close/>
                  <a:moveTo>
                    <a:pt x="26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51" y="17"/>
                    <a:pt x="55" y="19"/>
                    <a:pt x="58" y="21"/>
                  </a:cubicBezTo>
                  <a:cubicBezTo>
                    <a:pt x="61" y="23"/>
                    <a:pt x="62" y="27"/>
                    <a:pt x="62" y="32"/>
                  </a:cubicBezTo>
                  <a:cubicBezTo>
                    <a:pt x="62" y="36"/>
                    <a:pt x="61" y="39"/>
                    <a:pt x="58" y="41"/>
                  </a:cubicBezTo>
                  <a:cubicBezTo>
                    <a:pt x="56" y="43"/>
                    <a:pt x="53" y="45"/>
                    <a:pt x="49" y="45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17"/>
                  </a:lnTo>
                  <a:close/>
                  <a:moveTo>
                    <a:pt x="33" y="39"/>
                  </a:moveTo>
                  <a:cubicBezTo>
                    <a:pt x="41" y="39"/>
                    <a:pt x="41" y="39"/>
                    <a:pt x="41" y="39"/>
                  </a:cubicBezTo>
                  <a:cubicBezTo>
                    <a:pt x="43" y="39"/>
                    <a:pt x="45" y="39"/>
                    <a:pt x="46" y="39"/>
                  </a:cubicBezTo>
                  <a:cubicBezTo>
                    <a:pt x="48" y="39"/>
                    <a:pt x="49" y="39"/>
                    <a:pt x="50" y="38"/>
                  </a:cubicBezTo>
                  <a:cubicBezTo>
                    <a:pt x="52" y="38"/>
                    <a:pt x="53" y="37"/>
                    <a:pt x="53" y="36"/>
                  </a:cubicBezTo>
                  <a:cubicBezTo>
                    <a:pt x="54" y="35"/>
                    <a:pt x="54" y="33"/>
                    <a:pt x="54" y="31"/>
                  </a:cubicBezTo>
                  <a:cubicBezTo>
                    <a:pt x="54" y="30"/>
                    <a:pt x="54" y="28"/>
                    <a:pt x="53" y="27"/>
                  </a:cubicBezTo>
                  <a:cubicBezTo>
                    <a:pt x="53" y="26"/>
                    <a:pt x="52" y="26"/>
                    <a:pt x="51" y="25"/>
                  </a:cubicBezTo>
                  <a:cubicBezTo>
                    <a:pt x="50" y="24"/>
                    <a:pt x="49" y="24"/>
                    <a:pt x="47" y="24"/>
                  </a:cubicBezTo>
                  <a:cubicBezTo>
                    <a:pt x="46" y="24"/>
                    <a:pt x="45" y="24"/>
                    <a:pt x="43" y="24"/>
                  </a:cubicBezTo>
                  <a:cubicBezTo>
                    <a:pt x="33" y="24"/>
                    <a:pt x="33" y="24"/>
                    <a:pt x="33" y="24"/>
                  </a:cubicBezTo>
                  <a:lnTo>
                    <a:pt x="33" y="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pic>
        <p:nvPicPr>
          <p:cNvPr id="42" name="Picture 7" descr="bg_connectors.png &lt;IGNORE&gt;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7674" y="253048"/>
            <a:ext cx="8251826" cy="605254"/>
          </a:xfrm>
        </p:spPr>
        <p:txBody>
          <a:bodyPr wrap="square" lIns="0" tIns="0" rIns="0" bIns="0">
            <a:noAutofit/>
          </a:bodyPr>
          <a:lstStyle>
            <a:lvl1pPr algn="l">
              <a:defRPr sz="3900" baseline="0">
                <a:solidFill>
                  <a:srgbClr val="FFFFFF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gray">
          <a:xfrm>
            <a:off x="447675" y="855981"/>
            <a:ext cx="8251825" cy="6299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900">
                <a:solidFill>
                  <a:srgbClr val="FFFFFF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675" y="178077"/>
            <a:ext cx="8239125" cy="9255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4" r:id="rId3"/>
    <p:sldLayoutId id="2147483671" r:id="rId4"/>
    <p:sldLayoutId id="2147483678" r:id="rId5"/>
    <p:sldLayoutId id="2147483679" r:id="rId6"/>
    <p:sldLayoutId id="2147483665" r:id="rId7"/>
    <p:sldLayoutId id="2147483670" r:id="rId8"/>
    <p:sldLayoutId id="2147483692" r:id="rId9"/>
    <p:sldLayoutId id="2147483650" r:id="rId10"/>
    <p:sldLayoutId id="2147483667" r:id="rId11"/>
    <p:sldLayoutId id="2147483668" r:id="rId12"/>
    <p:sldLayoutId id="2147483687" r:id="rId13"/>
    <p:sldLayoutId id="2147483690" r:id="rId14"/>
    <p:sldLayoutId id="2147483691" r:id="rId15"/>
    <p:sldLayoutId id="2147483661" r:id="rId16"/>
    <p:sldLayoutId id="2147483660" r:id="rId17"/>
    <p:sldLayoutId id="2147483672" r:id="rId1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oracle.com/javafx/2/api/javafx/scene/doc-files/cssref.html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dvin/fxlauncher" TargetMode="External"/><Relationship Id="rId2" Type="http://schemas.openxmlformats.org/officeDocument/2006/relationships/hyperlink" Target="http://docs.oracle.com/javafx/2/get_started/basic_deployment.htm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duarddrenth/iText-GUI.git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JavaFX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900" dirty="0" smtClean="0"/>
              <a:t/>
            </a:r>
            <a:br>
              <a:rPr lang="en-US" sz="900" dirty="0" smtClean="0"/>
            </a:br>
            <a:r>
              <a:rPr lang="en-US" sz="2400" i="1" dirty="0" smtClean="0"/>
              <a:t>(not so) new GUI for Java</a:t>
            </a:r>
            <a:endParaRPr lang="en-US" sz="2400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21 </a:t>
            </a:r>
            <a:r>
              <a:rPr lang="en-US" dirty="0" err="1" smtClean="0"/>
              <a:t>Juli</a:t>
            </a:r>
            <a:r>
              <a:rPr lang="en-US" dirty="0" smtClean="0"/>
              <a:t> 2016</a:t>
            </a:r>
          </a:p>
        </p:txBody>
      </p:sp>
    </p:spTree>
    <p:extLst>
      <p:ext uri="{BB962C8B-B14F-4D97-AF65-F5344CB8AC3E}">
        <p14:creationId xmlns:p14="http://schemas.microsoft.com/office/powerpoint/2010/main" xmlns="" val="36978781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ur commitment to you</a:t>
            </a:r>
            <a:br>
              <a:rPr lang="en-US" dirty="0" smtClean="0"/>
            </a:br>
            <a:r>
              <a:rPr lang="en-US" sz="2800" dirty="0" smtClean="0">
                <a:solidFill>
                  <a:schemeClr val="tx1"/>
                </a:solidFill>
              </a:rPr>
              <a:t>We approach every engagement with one objective in mind: to help clients succeed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>
            <p:custDataLst>
              <p:tags r:id="rId1"/>
            </p:custDataLst>
          </p:nvPr>
        </p:nvSpPr>
        <p:spPr bwMode="gray">
          <a:xfrm>
            <a:off x="0" y="5011082"/>
            <a:ext cx="9143999" cy="1152084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50000">
                <a:schemeClr val="accent1"/>
              </a:gs>
              <a:gs pos="100000">
                <a:schemeClr val="tx2"/>
              </a:gs>
            </a:gsLst>
            <a:lin ang="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144000" tIns="46797" rIns="144000" bIns="46797" rtlCol="0" anchor="ctr">
            <a:noAutofit/>
          </a:bodyPr>
          <a:lstStyle/>
          <a:p>
            <a:pPr marL="266700" defTabSz="914357">
              <a:buClr>
                <a:srgbClr val="FFFFFF"/>
              </a:buClr>
              <a:buSzPct val="110000"/>
              <a:defRPr/>
            </a:pPr>
            <a:r>
              <a:rPr lang="de-DE" sz="3200" dirty="0">
                <a:solidFill>
                  <a:srgbClr val="FFFFFF"/>
                </a:solidFill>
              </a:rPr>
              <a:t>CGI in collaboration with you.</a:t>
            </a:r>
          </a:p>
        </p:txBody>
      </p:sp>
      <p:sp>
        <p:nvSpPr>
          <p:cNvPr id="22" name="Rechteck 21"/>
          <p:cNvSpPr/>
          <p:nvPr>
            <p:custDataLst>
              <p:tags r:id="rId2"/>
            </p:custDataLst>
          </p:nvPr>
        </p:nvSpPr>
        <p:spPr bwMode="gray">
          <a:xfrm>
            <a:off x="304800" y="990600"/>
            <a:ext cx="8534400" cy="381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t" anchorCtr="0"/>
          <a:lstStyle/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Intro /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diner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17:30 – 18:30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Overview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Custom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components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Strength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weaknesses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Interoperability</a:t>
            </a:r>
            <a:endParaRPr lang="de-DE" b="1" dirty="0" smtClean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Manageability</a:t>
            </a:r>
            <a:endParaRPr lang="de-DE" b="1" dirty="0">
              <a:gradFill>
                <a:gsLst>
                  <a:gs pos="0">
                    <a:srgbClr val="FF6A00"/>
                  </a:gs>
                  <a:gs pos="50000">
                    <a:srgbClr val="E31937"/>
                  </a:gs>
                  <a:gs pos="100000">
                    <a:srgbClr val="991F3D"/>
                  </a:gs>
                </a:gsLst>
                <a:lin ang="0" scaled="1"/>
              </a:gradFill>
            </a:endParaRP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Demos</a:t>
            </a:r>
          </a:p>
          <a:p>
            <a:pPr>
              <a:spcBef>
                <a:spcPts val="1200"/>
              </a:spcBef>
              <a:buClr>
                <a:srgbClr val="E31937"/>
              </a:buClr>
              <a:buSzPct val="110000"/>
              <a:buFont typeface="Arial" pitchFamily="34" charset="0"/>
              <a:buChar char="•"/>
              <a:defRPr/>
            </a:pP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 </a:t>
            </a:r>
            <a:r>
              <a:rPr lang="de-DE" b="1" dirty="0" err="1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hands</a:t>
            </a:r>
            <a:r>
              <a:rPr lang="de-DE" b="1" dirty="0" smtClean="0">
                <a:gradFill>
                  <a:gsLst>
                    <a:gs pos="0">
                      <a:srgbClr val="FF6A00"/>
                    </a:gs>
                    <a:gs pos="50000">
                      <a:srgbClr val="E31937"/>
                    </a:gs>
                    <a:gs pos="100000">
                      <a:srgbClr val="991F3D"/>
                    </a:gs>
                  </a:gsLst>
                  <a:lin ang="0" scaled="1"/>
                </a:gradFill>
              </a:rPr>
              <a:t>-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71475" y="0"/>
            <a:ext cx="8239125" cy="920750"/>
          </a:xfrm>
        </p:spPr>
        <p:txBody>
          <a:bodyPr/>
          <a:lstStyle/>
          <a:p>
            <a:r>
              <a:rPr lang="nl-NL" dirty="0" smtClean="0"/>
              <a:t>Agenda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xmlns="" val="4261803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Overview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3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declarative design: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 https://docs.oracle.com/javafx/2/api/javafx/scene/doc-files/cssref.html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s://docs.oracle.com/javafx/2/api/javafx/fxml/doc-files/introduction_to_fxml.htm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de predecessors: swing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/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awt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java as basis</a:t>
            </a:r>
            <a:endParaRPr kumimoji="0" lang="en-US" sz="1600" b="0" i="0" u="none" strike="noStrike" kern="1200" cap="none" spc="0" normalizeH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bin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multiplatform (see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gluonhq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)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E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=&gt; desktop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android, </a:t>
            </a:r>
            <a:r>
              <a:rPr lang="en-US" sz="3000" baseline="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iOS</a:t>
            </a:r>
            <a:r>
              <a:rPr lang="en-US" sz="3000" baseline="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, Arm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ustom</a:t>
            </a:r>
            <a:r>
              <a:rPr lang="nl-NL" dirty="0" smtClean="0"/>
              <a:t> </a:t>
            </a:r>
            <a:r>
              <a:rPr lang="nl-NL" dirty="0" err="1" smtClean="0"/>
              <a:t>component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4</a:t>
            </a:fld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57200" y="990600"/>
            <a:ext cx="8458200" cy="4800600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85000" lnSpcReduction="20000"/>
          </a:bodyPr>
          <a:lstStyle/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?import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layou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.*?&gt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type=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javafx.scene.layout.VBo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xmlns:f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http://javafx.com/fxml"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&lt;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i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/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&lt;Button text="Click Me"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onAc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="#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doSomething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/&gt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lt;/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: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&gt;</a:t>
            </a:r>
          </a:p>
          <a:p>
            <a:pPr lvl="0">
              <a:spcBef>
                <a:spcPct val="0"/>
              </a:spcBef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public class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extends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VBox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@FXML private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Fiel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loader = new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FXMLLoad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Class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Resource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"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_control.fxml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")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setRoo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this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setController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this);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try {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loader.load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; } catch (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IOExcep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exception) {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    throw new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RuntimeExceptio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exception);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    }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String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getTex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return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get();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ublic void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etText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String value) {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textProperty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.set(value);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@FXML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    protected void 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doSomething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) {</a:t>
            </a:r>
            <a:r>
              <a:rPr lang="en-US" sz="1400" dirty="0" err="1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System.out.println</a:t>
            </a: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("The button was clicked!");}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chemeClr val="tx2"/>
                </a:solidFill>
                <a:latin typeface="Courier New" pitchFamily="49" charset="0"/>
                <a:ea typeface="+mj-ea"/>
                <a:cs typeface="Courier New" pitchFamily="49" charset="0"/>
              </a:rPr>
              <a:t>}</a:t>
            </a:r>
          </a:p>
          <a:p>
            <a:pPr lvl="0">
              <a:spcBef>
                <a:spcPct val="0"/>
              </a:spcBef>
              <a:defRPr/>
            </a:pPr>
            <a:endParaRPr lang="en-US" sz="1400" dirty="0" smtClean="0">
              <a:solidFill>
                <a:schemeClr val="tx2"/>
              </a:solidFill>
              <a:latin typeface="Courier New" pitchFamily="49" charset="0"/>
              <a:ea typeface="+mj-ea"/>
              <a:cs typeface="Courier New" pitchFamily="49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dirty="0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&lt;</a:t>
            </a:r>
            <a:r>
              <a:rPr lang="en-US" sz="1400" dirty="0" err="1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CustomControl</a:t>
            </a:r>
            <a:r>
              <a:rPr lang="en-US" sz="1400" dirty="0" smtClean="0">
                <a:solidFill>
                  <a:srgbClr val="0070C0"/>
                </a:solidFill>
                <a:latin typeface="Courier New" pitchFamily="49" charset="0"/>
                <a:ea typeface="+mj-ea"/>
                <a:cs typeface="Courier New" pitchFamily="49" charset="0"/>
              </a:rPr>
              <a:t> text="Hello World!"/&gt;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ourier New" pitchFamily="49" charset="0"/>
              <a:ea typeface="+mj-ea"/>
              <a:cs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Strengths</a:t>
            </a:r>
            <a:r>
              <a:rPr lang="nl-NL" dirty="0" smtClean="0"/>
              <a:t> </a:t>
            </a:r>
            <a:r>
              <a:rPr lang="nl-NL" dirty="0" err="1" smtClean="0"/>
              <a:t>weakness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5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Fxml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 / </a:t>
            </a: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css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Mvc</a:t>
            </a: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Beauty / featur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Bin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err="1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Jvm</a:t>
            </a: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 / Jav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00B050"/>
                </a:solidFill>
                <a:latin typeface="Arial" pitchFamily="34" charset="0"/>
                <a:ea typeface="+mj-ea"/>
                <a:cs typeface="+mj-cs"/>
              </a:rPr>
              <a:t>Multi-plat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00B050"/>
              </a:solidFill>
              <a:latin typeface="Arial" pitchFamily="34" charset="0"/>
              <a:ea typeface="+mj-ea"/>
              <a:cs typeface="+mj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953000" y="1447800"/>
            <a:ext cx="38100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Java </a:t>
            </a: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deployment trouble</a:t>
            </a:r>
            <a:endParaRPr lang="en-US" sz="3000" dirty="0" smtClean="0">
              <a:solidFill>
                <a:srgbClr val="FF0000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Callback complex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Odd </a:t>
            </a:r>
            <a:r>
              <a:rPr lang="en-US" sz="3000" dirty="0" err="1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behaviour</a:t>
            </a: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 (sometimes</a:t>
            </a:r>
            <a:r>
              <a:rPr lang="en-US" sz="30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+mj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 smtClean="0">
              <a:solidFill>
                <a:srgbClr val="FF0000"/>
              </a:solidFill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Interoperability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6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wingNode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JFXPanel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WebView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Manageability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7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 http://docs.oracle.com/javafx/2/get_started/basic_deployment.htm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s://github.com/javafx-maven-plugi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http://docs.oracle.com/javafx/2/deployment/self-contained-packaging.htm</a:t>
            </a: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3"/>
              </a:rPr>
              <a:t>https://github.com/edvin/fxlauncher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pring-boot</a:t>
            </a: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Demo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/>
              <a:pPr/>
              <a:t>8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1447800"/>
            <a:ext cx="8305800" cy="4343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cruitement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t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reporting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tylesheets</a:t>
            </a:r>
            <a:endParaRPr lang="en-US" sz="3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button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6476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Hands-on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5A3C56-E491-49B2-93F3-63532DF516B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1365250"/>
            <a:ext cx="8239125" cy="43497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Setup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NetBeans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</a:rPr>
              <a:t> </a:t>
            </a: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with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S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eneBuilder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Create a 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J</a:t>
            </a:r>
            <a:r>
              <a:rPr kumimoji="0" lang="en-US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avaFX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</a:t>
            </a:r>
            <a:r>
              <a:rPr kumimoji="0" lang="en-US" sz="3000" b="0" i="0" u="none" strike="noStrike" kern="1200" cap="none" spc="0" normalizeH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fxml</a:t>
            </a:r>
            <a:r>
              <a:rPr kumimoji="0" lang="en-US" sz="30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application project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Play around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SceneBuilder</a:t>
            </a:r>
            <a:r>
              <a:rPr lang="en-US" sz="3000" dirty="0" smtClean="0">
                <a:solidFill>
                  <a:schemeClr val="tx2"/>
                </a:solidFill>
                <a:latin typeface="Arial" pitchFamily="34" charset="0"/>
              </a:rPr>
              <a:t> and </a:t>
            </a:r>
            <a:r>
              <a:rPr lang="en-US" sz="3000" dirty="0" err="1" smtClean="0">
                <a:solidFill>
                  <a:schemeClr val="tx2"/>
                </a:solidFill>
                <a:latin typeface="Arial" pitchFamily="34" charset="0"/>
              </a:rPr>
              <a:t>NetBeans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</a:t>
            </a:r>
            <a:r>
              <a:rPr lang="en-US" sz="2000" dirty="0" err="1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git</a:t>
            </a:r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clone –b workshop </a:t>
            </a:r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  <a:hlinkClick r:id="rId2"/>
              </a:rPr>
              <a:t>https://github.com/eduarddrenth/iText-GUI.git</a:t>
            </a:r>
            <a:endParaRPr lang="en-US" sz="2000" dirty="0" smtClean="0">
              <a:solidFill>
                <a:schemeClr val="tx2"/>
              </a:solidFill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open project in </a:t>
            </a:r>
            <a:r>
              <a:rPr kumimoji="0" lang="en-US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NetBeans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2400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 solve TODO’s in the project (action items search for TODO)</a:t>
            </a:r>
          </a:p>
          <a:p>
            <a:pPr lvl="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cheat: diff to </a:t>
            </a:r>
            <a:r>
              <a:rPr kumimoji="0" lang="en-US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workshopsolution</a:t>
            </a:r>
            <a:r>
              <a:rPr kumimoji="0" 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 branche</a:t>
            </a:r>
            <a:endParaRPr kumimoji="0" lang="nl-NL" sz="2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19182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qulstWLE.CIbRIEUiEtg"/>
</p:tagLst>
</file>

<file path=ppt/theme/theme1.xml><?xml version="1.0" encoding="utf-8"?>
<a:theme xmlns:a="http://schemas.openxmlformats.org/drawingml/2006/main" name="CGI-beet-PPT-template_EN">
  <a:themeElements>
    <a:clrScheme name="CGI">
      <a:dk1>
        <a:srgbClr val="363534"/>
      </a:dk1>
      <a:lt1>
        <a:srgbClr val="FFFFFF"/>
      </a:lt1>
      <a:dk2>
        <a:srgbClr val="991F3D"/>
      </a:dk2>
      <a:lt2>
        <a:srgbClr val="FFFFFF"/>
      </a:lt2>
      <a:accent1>
        <a:srgbClr val="E31937"/>
      </a:accent1>
      <a:accent2>
        <a:srgbClr val="991F3D"/>
      </a:accent2>
      <a:accent3>
        <a:srgbClr val="FF6A00"/>
      </a:accent3>
      <a:accent4>
        <a:srgbClr val="A1C4D0"/>
      </a:accent4>
      <a:accent5>
        <a:srgbClr val="F2A200"/>
      </a:accent5>
      <a:accent6>
        <a:srgbClr val="A5ACB0"/>
      </a:accent6>
      <a:hlink>
        <a:srgbClr val="E67386"/>
      </a:hlink>
      <a:folHlink>
        <a:srgbClr val="FFAA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algn="ctr">
          <a:noFill/>
          <a:miter lim="800000"/>
          <a:headEnd/>
          <a:tailEnd/>
        </a:ln>
        <a:effectLst/>
      </a:spPr>
      <a:bodyPr lIns="63500" tIns="0" rIns="64800" bIns="0" rtlCol="0" anchor="ctr"/>
      <a:lstStyle>
        <a:defPPr algn="ctr">
          <a:spcBef>
            <a:spcPct val="0"/>
          </a:spcBef>
          <a:buClrTx/>
          <a:buSzPct val="90000"/>
          <a:defRPr sz="1600" b="1" dirty="0">
            <a:solidFill>
              <a:schemeClr val="bg1"/>
            </a:solidFill>
            <a:cs typeface="Arial" pitchFamily="34" charset="0"/>
          </a:defRPr>
        </a:defPPr>
      </a:lstStyle>
    </a:spDef>
    <a:lnDef>
      <a:spPr bwMode="gray">
        <a:noFill/>
        <a:ln w="12700">
          <a:solidFill>
            <a:schemeClr val="accent1"/>
          </a:solidFill>
          <a:round/>
          <a:headEnd/>
          <a:tailEnd/>
        </a:ln>
        <a:effectLst/>
      </a:spPr>
      <a:bodyPr/>
      <a:lstStyle/>
    </a:lnDef>
    <a:txDef>
      <a:spPr bwMode="auto">
        <a:noFill/>
        <a:ln w="9525" algn="ctr">
          <a:noFill/>
          <a:miter lim="800000"/>
          <a:headEnd/>
          <a:tailEnd/>
        </a:ln>
        <a:effectLst/>
      </a:spPr>
      <a:bodyPr wrap="square" lIns="0" tIns="0" rIns="0" bIns="0" rtlCol="0">
        <a:spAutoFit/>
      </a:bodyPr>
      <a:lstStyle>
        <a:defPPr>
          <a:defRPr dirty="0" smtClean="0"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E5F243641E7E4C92649845A0D853DB" ma:contentTypeVersion="0" ma:contentTypeDescription="Create a new document." ma:contentTypeScope="" ma:versionID="212a420232fce5dc7d9243822d3a4c40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346CD18-12AD-4AEC-8965-62D46F5CB212}">
  <ds:schemaRefs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FDB7DDE-87D9-442A-8DF7-AC524E66A1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ADA5D674-9920-4D2F-B065-BC24FD29F86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GI-beet-PPT-template_EN</Template>
  <TotalTime>677</TotalTime>
  <Words>354</Words>
  <Application>Microsoft Office PowerPoint</Application>
  <PresentationFormat>On-screen Show (4:3)</PresentationFormat>
  <Paragraphs>96</Paragraphs>
  <Slides>10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CGI-beet-PPT-template_EN</vt:lpstr>
      <vt:lpstr>JavaFX  (not so) new GUI for Java</vt:lpstr>
      <vt:lpstr>Agenda</vt:lpstr>
      <vt:lpstr>Overview</vt:lpstr>
      <vt:lpstr>Custom components</vt:lpstr>
      <vt:lpstr>Strengths weaknesses</vt:lpstr>
      <vt:lpstr>Interoperability</vt:lpstr>
      <vt:lpstr>Manageability</vt:lpstr>
      <vt:lpstr>Demos</vt:lpstr>
      <vt:lpstr>Hands-on</vt:lpstr>
      <vt:lpstr>Our commitment to you We approach every engagement with one objective in mind: to help clients succeed</vt:lpstr>
    </vt:vector>
  </TitlesOfParts>
  <Company>CG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GP Demo Sprint 27 FlexOVL</dc:title>
  <dc:creator>karen.sellers</dc:creator>
  <cp:lastModifiedBy>Eduard</cp:lastModifiedBy>
  <cp:revision>1010</cp:revision>
  <cp:lastPrinted>2016-01-15T15:12:31Z</cp:lastPrinted>
  <dcterms:created xsi:type="dcterms:W3CDTF">2012-12-22T14:05:29Z</dcterms:created>
  <dcterms:modified xsi:type="dcterms:W3CDTF">2016-07-28T09:43:27Z</dcterms:modified>
  <cp:contentType>Document</cp:contentTyp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5</vt:i4>
  </property>
  <property fmtid="{D5CDD505-2E9C-101B-9397-08002B2CF9AE}" pid="4" name="ContentTypeId">
    <vt:lpwstr>0x01010029E5F243641E7E4C92649845A0D853DB</vt:lpwstr>
  </property>
  <property fmtid="{D5CDD505-2E9C-101B-9397-08002B2CF9AE}" pid="5" name="CSClassificationMetaXML">
    <vt:lpwstr>cb5dc3c5-268e-4ea5-8825-517ef1bf2f0d;2012-01-24 10:31:10;PENDINGCLASSIFICATION;</vt:lpwstr>
  </property>
  <property fmtid="{D5CDD505-2E9C-101B-9397-08002B2CF9AE}" pid="6" name="Service_x0020_line">
    <vt:lpwstr/>
  </property>
  <property fmtid="{D5CDD505-2E9C-101B-9397-08002B2CF9AE}" pid="7" name="Proposition1">
    <vt:lpwstr/>
  </property>
  <property fmtid="{D5CDD505-2E9C-101B-9397-08002B2CF9AE}" pid="8" name="Service line">
    <vt:lpwstr/>
  </property>
  <property fmtid="{D5CDD505-2E9C-101B-9397-08002B2CF9AE}" pid="9" name="Organisation">
    <vt:lpwstr>36;#North America|432c26d4-6fa6-4d6a-a083-35cd92b71c1e</vt:lpwstr>
  </property>
  <property fmtid="{D5CDD505-2E9C-101B-9397-08002B2CF9AE}" pid="10" name="c5aebc35b3e840e5912c276ffe755dcf">
    <vt:lpwstr/>
  </property>
  <property fmtid="{D5CDD505-2E9C-101B-9397-08002B2CF9AE}" pid="11" name="Publication Date">
    <vt:lpwstr>2013-01-09T00:00:00+00:00</vt:lpwstr>
  </property>
  <property fmtid="{D5CDD505-2E9C-101B-9397-08002B2CF9AE}" pid="12" name="CSMeta2010Field">
    <vt:lpwstr>e3756241-2df6-41de-be5e-75b6e6bb08f6;2012-09-21 22:00:55;PENDINGCLASSIFICATION;False</vt:lpwstr>
  </property>
  <property fmtid="{D5CDD505-2E9C-101B-9397-08002B2CF9AE}" pid="13" name="Language">
    <vt:lpwstr>EN</vt:lpwstr>
  </property>
  <property fmtid="{D5CDD505-2E9C-101B-9397-08002B2CF9AE}" pid="14" name="Abstract">
    <vt:lpwstr>CGI-beet-option_EN</vt:lpwstr>
  </property>
  <property fmtid="{D5CDD505-2E9C-101B-9397-08002B2CF9AE}" pid="15" name="BS Document Sub Type">
    <vt:lpwstr>Business Aid</vt:lpwstr>
  </property>
  <property fmtid="{D5CDD505-2E9C-101B-9397-08002B2CF9AE}" pid="16" name="Best Before Date">
    <vt:lpwstr>2018-01-09T00:00:00+00:00</vt:lpwstr>
  </property>
  <property fmtid="{D5CDD505-2E9C-101B-9397-08002B2CF9AE}" pid="17" name="Published By">
    <vt:lpwstr>Stiller, Regina C55167</vt:lpwstr>
  </property>
  <property fmtid="{D5CDD505-2E9C-101B-9397-08002B2CF9AE}" pid="18" name="External Use">
    <vt:lpwstr>No</vt:lpwstr>
  </property>
  <property fmtid="{D5CDD505-2E9C-101B-9397-08002B2CF9AE}" pid="19" name="Owner Organisation">
    <vt:lpwstr>United States</vt:lpwstr>
  </property>
  <property fmtid="{D5CDD505-2E9C-101B-9397-08002B2CF9AE}" pid="20" name="c79d12643ffc4d60ab657aaa1718cc32">
    <vt:lpwstr>North America432c26d4-6fa6-4d6a-a083-35cd92b71c1e</vt:lpwstr>
  </property>
  <property fmtid="{D5CDD505-2E9C-101B-9397-08002B2CF9AE}" pid="21" name="p43f7bb208e443c9b50eb304fe6606a3">
    <vt:lpwstr/>
  </property>
  <property fmtid="{D5CDD505-2E9C-101B-9397-08002B2CF9AE}" pid="22" name="h4c66fbf292e4125b0e390af25f11c04">
    <vt:lpwstr/>
  </property>
  <property fmtid="{D5CDD505-2E9C-101B-9397-08002B2CF9AE}" pid="23" name="eafb632c3f5c40ba98242be6bbd6bb17">
    <vt:lpwstr/>
  </property>
  <property fmtid="{D5CDD505-2E9C-101B-9397-08002B2CF9AE}" pid="24" name="TaxCatchAll">
    <vt:lpwstr>36</vt:lpwstr>
  </property>
</Properties>
</file>